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  <p:sldMasterId id="2147483664" r:id="rId3"/>
  </p:sldMasterIdLst>
  <p:notesMasterIdLst>
    <p:notesMasterId r:id="rId17"/>
  </p:notesMasterIdLst>
  <p:sldIdLst>
    <p:sldId id="268" r:id="rId4"/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</p:sldIdLst>
  <p:sldSz cx="12192000" cy="6858000"/>
  <p:notesSz cx="6858000" cy="9144000"/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10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15" d="100"/>
          <a:sy n="115" d="100"/>
        </p:scale>
        <p:origin x="706" y="72"/>
      </p:cViewPr>
      <p:guideLst>
        <p:guide pos="3840"/>
        <p:guide orient="horz" pos="10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469428-3EB0-4A7D-A4C3-105F04356751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 bwMode="auto"/>
      <dgm:t>
        <a:bodyPr/>
        <a:lstStyle/>
        <a:p>
          <a:pPr>
            <a:defRPr/>
          </a:pPr>
          <a:endParaRPr lang="de-DE"/>
        </a:p>
      </dgm:t>
    </dgm:pt>
    <dgm:pt modelId="{763CDE82-0520-4605-8D14-72F9E5AFD0AB}">
      <dgm:prSet phldrT="[Text]"/>
      <dgm:spPr bwMode="auto">
        <a:solidFill>
          <a:srgbClr val="DEC628"/>
        </a:solidFill>
      </dgm:spPr>
      <dgm:t>
        <a:bodyPr/>
        <a:lstStyle/>
        <a:p>
          <a:pPr>
            <a:defRPr/>
          </a:pPr>
          <a:r>
            <a:rPr lang="de-DE" b="1"/>
            <a:t>Individualisiertes und differenziertes Lernen</a:t>
          </a:r>
          <a:endParaRPr lang="de-DE"/>
        </a:p>
      </dgm:t>
    </dgm:pt>
    <dgm:pt modelId="{CA7FD0A2-2989-45BE-AAA7-A013EE4792CC}" type="parTrans" cxnId="{FE2CF023-821F-40F4-B6E2-BBB07DADF0A1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87E78405-EF28-4535-BA3E-FEA6FAFAFEC9}" type="sibTrans" cxnId="{FE2CF023-821F-40F4-B6E2-BBB07DADF0A1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1D0A4298-8FF2-43F4-8D81-8A7A158B07F5}">
      <dgm:prSet phldrT="[Text]"/>
      <dgm:spPr bwMode="auto"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>
            <a:defRPr/>
          </a:pPr>
          <a:r>
            <a:rPr lang="de-DE" b="1"/>
            <a:t>Unterstützung bei Routineaufgaben</a:t>
          </a:r>
          <a:endParaRPr lang="de-DE"/>
        </a:p>
      </dgm:t>
    </dgm:pt>
    <dgm:pt modelId="{4E9A9390-6B94-4C8E-96FD-028E887B13C6}" type="parTrans" cxnId="{142A41C2-EDA4-4114-A399-04B111950160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C92FE0D9-90CD-4782-A987-EE2F298F043B}" type="sibTrans" cxnId="{142A41C2-EDA4-4114-A399-04B111950160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0C82D2DA-F89C-493B-9397-65997336A7D5}">
      <dgm:prSet phldrT="[Text]"/>
      <dgm:spPr bwMode="auto"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>
            <a:defRPr/>
          </a:pPr>
          <a:r>
            <a:rPr lang="de-DE" b="1"/>
            <a:t>Förderung digitaler Kompetenzen</a:t>
          </a:r>
          <a:endParaRPr lang="de-DE"/>
        </a:p>
      </dgm:t>
    </dgm:pt>
    <dgm:pt modelId="{F7962206-81B0-4FEC-9BF3-208F2F4A6168}" type="parTrans" cxnId="{8E34B423-14DC-44BD-83C0-1BC4484DA31D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5B4C363F-A0E5-49CD-8CB4-44DE311633E4}" type="sibTrans" cxnId="{8E34B423-14DC-44BD-83C0-1BC4484DA31D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C44FA973-CA96-4F50-82A1-6CD343D1D08D}">
      <dgm:prSet phldrT="[Text]"/>
      <dgm:spPr bwMode="auto"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pPr>
            <a:defRPr/>
          </a:pPr>
          <a:r>
            <a:rPr lang="de-DE" b="1"/>
            <a:t>Zugang zu neuen Lernformen</a:t>
          </a:r>
          <a:endParaRPr lang="de-DE"/>
        </a:p>
      </dgm:t>
    </dgm:pt>
    <dgm:pt modelId="{89CC44F2-DF70-434A-9B1C-2EBD0E091AA3}" type="parTrans" cxnId="{FE150E0D-A298-47B0-96AD-B4889721308F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A26A5381-137C-47FC-BEA8-BAF405D607E2}" type="sibTrans" cxnId="{FE150E0D-A298-47B0-96AD-B4889721308F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4795AB35-2F18-4E0F-B4E1-B2B22647BF0D}" type="pres">
      <dgm:prSet presAssocID="{AB469428-3EB0-4A7D-A4C3-105F04356751}" presName="Name0" presStyleCnt="0">
        <dgm:presLayoutVars>
          <dgm:chMax val="7"/>
          <dgm:chPref val="7"/>
          <dgm:dir/>
        </dgm:presLayoutVars>
      </dgm:prSet>
      <dgm:spPr bwMode="auto"/>
    </dgm:pt>
    <dgm:pt modelId="{B3CDF451-ABCF-43B9-8C2C-729B9B15F099}" type="pres">
      <dgm:prSet presAssocID="{AB469428-3EB0-4A7D-A4C3-105F04356751}" presName="Name1" presStyleCnt="0"/>
      <dgm:spPr bwMode="auto"/>
    </dgm:pt>
    <dgm:pt modelId="{56779EDD-1221-4303-B41F-3E5C384C9BFB}" type="pres">
      <dgm:prSet presAssocID="{AB469428-3EB0-4A7D-A4C3-105F04356751}" presName="cycle" presStyleCnt="0"/>
      <dgm:spPr bwMode="auto"/>
    </dgm:pt>
    <dgm:pt modelId="{B7EEC69E-8022-4A64-A912-F5F8369EF086}" type="pres">
      <dgm:prSet presAssocID="{AB469428-3EB0-4A7D-A4C3-105F04356751}" presName="srcNode" presStyleLbl="node1" presStyleIdx="0" presStyleCnt="4"/>
      <dgm:spPr bwMode="auto"/>
    </dgm:pt>
    <dgm:pt modelId="{0B893AD0-0A1C-4ADF-9718-A14AC0683237}" type="pres">
      <dgm:prSet presAssocID="{AB469428-3EB0-4A7D-A4C3-105F04356751}" presName="conn" presStyleLbl="parChTrans1D2" presStyleIdx="0" presStyleCnt="1"/>
      <dgm:spPr bwMode="auto"/>
    </dgm:pt>
    <dgm:pt modelId="{BE45C8A5-1D26-46FF-A10C-8B82359B90E4}" type="pres">
      <dgm:prSet presAssocID="{AB469428-3EB0-4A7D-A4C3-105F04356751}" presName="extraNode" presStyleLbl="node1" presStyleIdx="0" presStyleCnt="4"/>
      <dgm:spPr bwMode="auto"/>
    </dgm:pt>
    <dgm:pt modelId="{848E226B-ADBB-42EA-A806-5A4B9EDE1566}" type="pres">
      <dgm:prSet presAssocID="{AB469428-3EB0-4A7D-A4C3-105F04356751}" presName="dstNode" presStyleLbl="node1" presStyleIdx="0" presStyleCnt="4"/>
      <dgm:spPr bwMode="auto"/>
    </dgm:pt>
    <dgm:pt modelId="{505B6D5A-154B-4BE6-A3A7-88F7CAAC9756}" type="pres">
      <dgm:prSet presAssocID="{763CDE82-0520-4605-8D14-72F9E5AFD0AB}" presName="text_1" presStyleLbl="node1" presStyleIdx="0" presStyleCnt="4">
        <dgm:presLayoutVars>
          <dgm:bulletEnabled val="1"/>
        </dgm:presLayoutVars>
      </dgm:prSet>
      <dgm:spPr bwMode="auto"/>
    </dgm:pt>
    <dgm:pt modelId="{2A6A0ECB-24FC-48C0-AA20-1AAFA76FAB54}" type="pres">
      <dgm:prSet presAssocID="{763CDE82-0520-4605-8D14-72F9E5AFD0AB}" presName="accent_1" presStyleCnt="0"/>
      <dgm:spPr bwMode="auto"/>
    </dgm:pt>
    <dgm:pt modelId="{E7A6BDE6-E41D-4E3A-9BD8-6D83ACC0BD68}" type="pres">
      <dgm:prSet presAssocID="{763CDE82-0520-4605-8D14-72F9E5AFD0AB}" presName="accentRepeatNode" presStyleLbl="solidFgAcc1" presStyleIdx="0" presStyleCnt="4"/>
      <dgm:spPr bwMode="auto"/>
    </dgm:pt>
    <dgm:pt modelId="{C50AFA46-5CCF-4B41-B1F2-2C82A678FF55}" type="pres">
      <dgm:prSet presAssocID="{1D0A4298-8FF2-43F4-8D81-8A7A158B07F5}" presName="text_2" presStyleLbl="node1" presStyleIdx="1" presStyleCnt="4">
        <dgm:presLayoutVars>
          <dgm:bulletEnabled val="1"/>
        </dgm:presLayoutVars>
      </dgm:prSet>
      <dgm:spPr bwMode="auto"/>
    </dgm:pt>
    <dgm:pt modelId="{04D01961-C3B6-464C-9361-109E04C0E126}" type="pres">
      <dgm:prSet presAssocID="{1D0A4298-8FF2-43F4-8D81-8A7A158B07F5}" presName="accent_2" presStyleCnt="0"/>
      <dgm:spPr bwMode="auto"/>
    </dgm:pt>
    <dgm:pt modelId="{E3FADB66-1A74-4BB3-AC5A-EAE2BF244DFF}" type="pres">
      <dgm:prSet presAssocID="{1D0A4298-8FF2-43F4-8D81-8A7A158B07F5}" presName="accentRepeatNode" presStyleLbl="solidFgAcc1" presStyleIdx="1" presStyleCnt="4"/>
      <dgm:spPr bwMode="auto"/>
    </dgm:pt>
    <dgm:pt modelId="{B193DB50-272A-4D4C-A921-5105FA66BD06}" type="pres">
      <dgm:prSet presAssocID="{0C82D2DA-F89C-493B-9397-65997336A7D5}" presName="text_3" presStyleLbl="node1" presStyleIdx="2" presStyleCnt="4">
        <dgm:presLayoutVars>
          <dgm:bulletEnabled val="1"/>
        </dgm:presLayoutVars>
      </dgm:prSet>
      <dgm:spPr bwMode="auto"/>
    </dgm:pt>
    <dgm:pt modelId="{B1703733-CC5C-434D-94C9-7E45BA2BC244}" type="pres">
      <dgm:prSet presAssocID="{0C82D2DA-F89C-493B-9397-65997336A7D5}" presName="accent_3" presStyleCnt="0"/>
      <dgm:spPr bwMode="auto"/>
    </dgm:pt>
    <dgm:pt modelId="{FC8907A0-78FE-4A60-B009-D6682E021638}" type="pres">
      <dgm:prSet presAssocID="{0C82D2DA-F89C-493B-9397-65997336A7D5}" presName="accentRepeatNode" presStyleLbl="solidFgAcc1" presStyleIdx="2" presStyleCnt="4"/>
      <dgm:spPr bwMode="auto"/>
    </dgm:pt>
    <dgm:pt modelId="{E439456E-D7F8-4CCC-8AAF-509C7B533D01}" type="pres">
      <dgm:prSet presAssocID="{C44FA973-CA96-4F50-82A1-6CD343D1D08D}" presName="text_4" presStyleLbl="node1" presStyleIdx="3" presStyleCnt="4">
        <dgm:presLayoutVars>
          <dgm:bulletEnabled val="1"/>
        </dgm:presLayoutVars>
      </dgm:prSet>
      <dgm:spPr bwMode="auto"/>
    </dgm:pt>
    <dgm:pt modelId="{2442D057-F4FA-44D5-A9C7-A184B33B3C70}" type="pres">
      <dgm:prSet presAssocID="{C44FA973-CA96-4F50-82A1-6CD343D1D08D}" presName="accent_4" presStyleCnt="0"/>
      <dgm:spPr bwMode="auto"/>
    </dgm:pt>
    <dgm:pt modelId="{3A2CD447-01DD-4BFE-87AF-B7378F0F7786}" type="pres">
      <dgm:prSet presAssocID="{C44FA973-CA96-4F50-82A1-6CD343D1D08D}" presName="accentRepeatNode" presStyleLbl="solidFgAcc1" presStyleIdx="3" presStyleCnt="4"/>
      <dgm:spPr bwMode="auto"/>
    </dgm:pt>
  </dgm:ptLst>
  <dgm:cxnLst>
    <dgm:cxn modelId="{FE150E0D-A298-47B0-96AD-B4889721308F}" srcId="{AB469428-3EB0-4A7D-A4C3-105F04356751}" destId="{C44FA973-CA96-4F50-82A1-6CD343D1D08D}" srcOrd="3" destOrd="0" parTransId="{89CC44F2-DF70-434A-9B1C-2EBD0E091AA3}" sibTransId="{A26A5381-137C-47FC-BEA8-BAF405D607E2}"/>
    <dgm:cxn modelId="{FCB86022-F2EE-4B16-BB3C-BC95CB909412}" type="presOf" srcId="{87E78405-EF28-4535-BA3E-FEA6FAFAFEC9}" destId="{0B893AD0-0A1C-4ADF-9718-A14AC0683237}" srcOrd="0" destOrd="0" presId="urn:microsoft.com/office/officeart/2008/layout/VerticalCurvedList"/>
    <dgm:cxn modelId="{8E34B423-14DC-44BD-83C0-1BC4484DA31D}" srcId="{AB469428-3EB0-4A7D-A4C3-105F04356751}" destId="{0C82D2DA-F89C-493B-9397-65997336A7D5}" srcOrd="2" destOrd="0" parTransId="{F7962206-81B0-4FEC-9BF3-208F2F4A6168}" sibTransId="{5B4C363F-A0E5-49CD-8CB4-44DE311633E4}"/>
    <dgm:cxn modelId="{FE2CF023-821F-40F4-B6E2-BBB07DADF0A1}" srcId="{AB469428-3EB0-4A7D-A4C3-105F04356751}" destId="{763CDE82-0520-4605-8D14-72F9E5AFD0AB}" srcOrd="0" destOrd="0" parTransId="{CA7FD0A2-2989-45BE-AAA7-A013EE4792CC}" sibTransId="{87E78405-EF28-4535-BA3E-FEA6FAFAFEC9}"/>
    <dgm:cxn modelId="{A73B8F4F-503E-4376-BEE9-E9D2CABFDBE4}" type="presOf" srcId="{C44FA973-CA96-4F50-82A1-6CD343D1D08D}" destId="{E439456E-D7F8-4CCC-8AAF-509C7B533D01}" srcOrd="0" destOrd="0" presId="urn:microsoft.com/office/officeart/2008/layout/VerticalCurvedList"/>
    <dgm:cxn modelId="{A86CE6B0-553C-4B40-BB2E-54C818F0DC1B}" type="presOf" srcId="{AB469428-3EB0-4A7D-A4C3-105F04356751}" destId="{4795AB35-2F18-4E0F-B4E1-B2B22647BF0D}" srcOrd="0" destOrd="0" presId="urn:microsoft.com/office/officeart/2008/layout/VerticalCurvedList"/>
    <dgm:cxn modelId="{42989DBA-ED67-4681-B11A-070B2208342A}" type="presOf" srcId="{1D0A4298-8FF2-43F4-8D81-8A7A158B07F5}" destId="{C50AFA46-5CCF-4B41-B1F2-2C82A678FF55}" srcOrd="0" destOrd="0" presId="urn:microsoft.com/office/officeart/2008/layout/VerticalCurvedList"/>
    <dgm:cxn modelId="{D57BD4C1-1CDF-4B52-967B-6AED92FEAF83}" type="presOf" srcId="{0C82D2DA-F89C-493B-9397-65997336A7D5}" destId="{B193DB50-272A-4D4C-A921-5105FA66BD06}" srcOrd="0" destOrd="0" presId="urn:microsoft.com/office/officeart/2008/layout/VerticalCurvedList"/>
    <dgm:cxn modelId="{142A41C2-EDA4-4114-A399-04B111950160}" srcId="{AB469428-3EB0-4A7D-A4C3-105F04356751}" destId="{1D0A4298-8FF2-43F4-8D81-8A7A158B07F5}" srcOrd="1" destOrd="0" parTransId="{4E9A9390-6B94-4C8E-96FD-028E887B13C6}" sibTransId="{C92FE0D9-90CD-4782-A987-EE2F298F043B}"/>
    <dgm:cxn modelId="{28B09EC3-01BE-4FD0-B783-495EAABF9E52}" type="presOf" srcId="{763CDE82-0520-4605-8D14-72F9E5AFD0AB}" destId="{505B6D5A-154B-4BE6-A3A7-88F7CAAC9756}" srcOrd="0" destOrd="0" presId="urn:microsoft.com/office/officeart/2008/layout/VerticalCurvedList"/>
    <dgm:cxn modelId="{33985C14-CDE2-4796-83C8-052E2BC58C56}" type="presParOf" srcId="{4795AB35-2F18-4E0F-B4E1-B2B22647BF0D}" destId="{B3CDF451-ABCF-43B9-8C2C-729B9B15F099}" srcOrd="0" destOrd="0" presId="urn:microsoft.com/office/officeart/2008/layout/VerticalCurvedList"/>
    <dgm:cxn modelId="{FA16CF52-4D3C-493B-A711-2E5FE9C8FF9C}" type="presParOf" srcId="{B3CDF451-ABCF-43B9-8C2C-729B9B15F099}" destId="{56779EDD-1221-4303-B41F-3E5C384C9BFB}" srcOrd="0" destOrd="0" presId="urn:microsoft.com/office/officeart/2008/layout/VerticalCurvedList"/>
    <dgm:cxn modelId="{4F84503B-F300-4BA6-9E92-FE22B3C0B413}" type="presParOf" srcId="{56779EDD-1221-4303-B41F-3E5C384C9BFB}" destId="{B7EEC69E-8022-4A64-A912-F5F8369EF086}" srcOrd="0" destOrd="0" presId="urn:microsoft.com/office/officeart/2008/layout/VerticalCurvedList"/>
    <dgm:cxn modelId="{B6469A10-8E9D-4EB3-9B16-87873C34AA63}" type="presParOf" srcId="{56779EDD-1221-4303-B41F-3E5C384C9BFB}" destId="{0B893AD0-0A1C-4ADF-9718-A14AC0683237}" srcOrd="1" destOrd="0" presId="urn:microsoft.com/office/officeart/2008/layout/VerticalCurvedList"/>
    <dgm:cxn modelId="{8490E46C-3C05-4860-9F0C-9E40EE9131AC}" type="presParOf" srcId="{56779EDD-1221-4303-B41F-3E5C384C9BFB}" destId="{BE45C8A5-1D26-46FF-A10C-8B82359B90E4}" srcOrd="2" destOrd="0" presId="urn:microsoft.com/office/officeart/2008/layout/VerticalCurvedList"/>
    <dgm:cxn modelId="{126D8F57-9A2B-4E79-B6B5-CFA7974DE160}" type="presParOf" srcId="{56779EDD-1221-4303-B41F-3E5C384C9BFB}" destId="{848E226B-ADBB-42EA-A806-5A4B9EDE1566}" srcOrd="3" destOrd="0" presId="urn:microsoft.com/office/officeart/2008/layout/VerticalCurvedList"/>
    <dgm:cxn modelId="{D3B781AB-53D2-4F4D-8DBC-C4CAD7D9E54E}" type="presParOf" srcId="{B3CDF451-ABCF-43B9-8C2C-729B9B15F099}" destId="{505B6D5A-154B-4BE6-A3A7-88F7CAAC9756}" srcOrd="1" destOrd="0" presId="urn:microsoft.com/office/officeart/2008/layout/VerticalCurvedList"/>
    <dgm:cxn modelId="{0DFCA9CF-D350-4199-954B-123D9D262058}" type="presParOf" srcId="{B3CDF451-ABCF-43B9-8C2C-729B9B15F099}" destId="{2A6A0ECB-24FC-48C0-AA20-1AAFA76FAB54}" srcOrd="2" destOrd="0" presId="urn:microsoft.com/office/officeart/2008/layout/VerticalCurvedList"/>
    <dgm:cxn modelId="{9393A668-C8BD-42E8-9E57-EF87BDBB404A}" type="presParOf" srcId="{2A6A0ECB-24FC-48C0-AA20-1AAFA76FAB54}" destId="{E7A6BDE6-E41D-4E3A-9BD8-6D83ACC0BD68}" srcOrd="0" destOrd="0" presId="urn:microsoft.com/office/officeart/2008/layout/VerticalCurvedList"/>
    <dgm:cxn modelId="{218A50BD-A94F-4B35-BBE8-F16EE7EA99B3}" type="presParOf" srcId="{B3CDF451-ABCF-43B9-8C2C-729B9B15F099}" destId="{C50AFA46-5CCF-4B41-B1F2-2C82A678FF55}" srcOrd="3" destOrd="0" presId="urn:microsoft.com/office/officeart/2008/layout/VerticalCurvedList"/>
    <dgm:cxn modelId="{C8275B1A-6507-4ADF-81AC-6BB17BB74CB5}" type="presParOf" srcId="{B3CDF451-ABCF-43B9-8C2C-729B9B15F099}" destId="{04D01961-C3B6-464C-9361-109E04C0E126}" srcOrd="4" destOrd="0" presId="urn:microsoft.com/office/officeart/2008/layout/VerticalCurvedList"/>
    <dgm:cxn modelId="{E68B11B2-73F4-4D71-A822-ADCAEE2FBD48}" type="presParOf" srcId="{04D01961-C3B6-464C-9361-109E04C0E126}" destId="{E3FADB66-1A74-4BB3-AC5A-EAE2BF244DFF}" srcOrd="0" destOrd="0" presId="urn:microsoft.com/office/officeart/2008/layout/VerticalCurvedList"/>
    <dgm:cxn modelId="{7C2F18E9-03D4-458A-867B-6648C6FFE0C3}" type="presParOf" srcId="{B3CDF451-ABCF-43B9-8C2C-729B9B15F099}" destId="{B193DB50-272A-4D4C-A921-5105FA66BD06}" srcOrd="5" destOrd="0" presId="urn:microsoft.com/office/officeart/2008/layout/VerticalCurvedList"/>
    <dgm:cxn modelId="{D4011F87-99DD-4953-AFB5-9B2029B7F42E}" type="presParOf" srcId="{B3CDF451-ABCF-43B9-8C2C-729B9B15F099}" destId="{B1703733-CC5C-434D-94C9-7E45BA2BC244}" srcOrd="6" destOrd="0" presId="urn:microsoft.com/office/officeart/2008/layout/VerticalCurvedList"/>
    <dgm:cxn modelId="{5CE3C5F5-0D6E-4AC9-B7B7-F9613D1A95BF}" type="presParOf" srcId="{B1703733-CC5C-434D-94C9-7E45BA2BC244}" destId="{FC8907A0-78FE-4A60-B009-D6682E021638}" srcOrd="0" destOrd="0" presId="urn:microsoft.com/office/officeart/2008/layout/VerticalCurvedList"/>
    <dgm:cxn modelId="{B432FF7E-B0C1-4DBD-9DAE-EC9C74F284A9}" type="presParOf" srcId="{B3CDF451-ABCF-43B9-8C2C-729B9B15F099}" destId="{E439456E-D7F8-4CCC-8AAF-509C7B533D01}" srcOrd="7" destOrd="0" presId="urn:microsoft.com/office/officeart/2008/layout/VerticalCurvedList"/>
    <dgm:cxn modelId="{83DEC977-7192-49D4-B9B9-9DCD5A7CDC56}" type="presParOf" srcId="{B3CDF451-ABCF-43B9-8C2C-729B9B15F099}" destId="{2442D057-F4FA-44D5-A9C7-A184B33B3C70}" srcOrd="8" destOrd="0" presId="urn:microsoft.com/office/officeart/2008/layout/VerticalCurvedList"/>
    <dgm:cxn modelId="{20D861AB-10CB-47C8-89BC-5A0B25180585}" type="presParOf" srcId="{2442D057-F4FA-44D5-A9C7-A184B33B3C70}" destId="{3A2CD447-01DD-4BFE-87AF-B7378F0F778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893AD0-0A1C-4ADF-9718-A14AC0683237}">
      <dsp:nvSpPr>
        <dsp:cNvPr id="0" name=""/>
        <dsp:cNvSpPr/>
      </dsp:nvSpPr>
      <dsp:spPr bwMode="auto">
        <a:xfrm>
          <a:off x="-5348460" y="-819054"/>
          <a:ext cx="6368661" cy="6368661"/>
        </a:xfrm>
        <a:prstGeom prst="blockArc">
          <a:avLst>
            <a:gd name="adj1" fmla="val 18900000"/>
            <a:gd name="adj2" fmla="val 2700000"/>
            <a:gd name="adj3" fmla="val 339"/>
          </a:avLst>
        </a:prstGeom>
        <a:noFill/>
        <a:ln w="190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5B6D5A-154B-4BE6-A3A7-88F7CAAC9756}">
      <dsp:nvSpPr>
        <dsp:cNvPr id="0" name=""/>
        <dsp:cNvSpPr/>
      </dsp:nvSpPr>
      <dsp:spPr bwMode="auto">
        <a:xfrm>
          <a:off x="534119" y="363684"/>
          <a:ext cx="6571372" cy="727748"/>
        </a:xfrm>
        <a:prstGeom prst="rect">
          <a:avLst/>
        </a:prstGeom>
        <a:solidFill>
          <a:srgbClr val="DEC628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Individualisiertes und differenziertes Lernen</a:t>
          </a:r>
          <a:endParaRPr lang="de-DE" sz="2200" kern="1200"/>
        </a:p>
      </dsp:txBody>
      <dsp:txXfrm>
        <a:off x="534119" y="363684"/>
        <a:ext cx="6571372" cy="727748"/>
      </dsp:txXfrm>
    </dsp:sp>
    <dsp:sp modelId="{E7A6BDE6-E41D-4E3A-9BD8-6D83ACC0BD68}">
      <dsp:nvSpPr>
        <dsp:cNvPr id="0" name=""/>
        <dsp:cNvSpPr/>
      </dsp:nvSpPr>
      <dsp:spPr bwMode="auto">
        <a:xfrm>
          <a:off x="79277" y="272716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0AFA46-5CCF-4B41-B1F2-2C82A678FF55}">
      <dsp:nvSpPr>
        <dsp:cNvPr id="0" name=""/>
        <dsp:cNvSpPr/>
      </dsp:nvSpPr>
      <dsp:spPr bwMode="auto">
        <a:xfrm>
          <a:off x="951354" y="1455496"/>
          <a:ext cx="6154137" cy="727748"/>
        </a:xfrm>
        <a:prstGeom prst="rect">
          <a:avLst/>
        </a:prstGeom>
        <a:solidFill>
          <a:schemeClr val="accent4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Unterstützung bei Routineaufgaben</a:t>
          </a:r>
          <a:endParaRPr lang="de-DE" sz="2200" kern="1200"/>
        </a:p>
      </dsp:txBody>
      <dsp:txXfrm>
        <a:off x="951354" y="1455496"/>
        <a:ext cx="6154137" cy="727748"/>
      </dsp:txXfrm>
    </dsp:sp>
    <dsp:sp modelId="{E3FADB66-1A74-4BB3-AC5A-EAE2BF244DFF}">
      <dsp:nvSpPr>
        <dsp:cNvPr id="0" name=""/>
        <dsp:cNvSpPr/>
      </dsp:nvSpPr>
      <dsp:spPr bwMode="auto">
        <a:xfrm>
          <a:off x="496512" y="1364527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193DB50-272A-4D4C-A921-5105FA66BD06}">
      <dsp:nvSpPr>
        <dsp:cNvPr id="0" name=""/>
        <dsp:cNvSpPr/>
      </dsp:nvSpPr>
      <dsp:spPr bwMode="auto">
        <a:xfrm>
          <a:off x="951354" y="2547307"/>
          <a:ext cx="6154137" cy="727748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Förderung digitaler Kompetenzen</a:t>
          </a:r>
          <a:endParaRPr lang="de-DE" sz="2200" kern="1200"/>
        </a:p>
      </dsp:txBody>
      <dsp:txXfrm>
        <a:off x="951354" y="2547307"/>
        <a:ext cx="6154137" cy="727748"/>
      </dsp:txXfrm>
    </dsp:sp>
    <dsp:sp modelId="{FC8907A0-78FE-4A60-B009-D6682E021638}">
      <dsp:nvSpPr>
        <dsp:cNvPr id="0" name=""/>
        <dsp:cNvSpPr/>
      </dsp:nvSpPr>
      <dsp:spPr bwMode="auto">
        <a:xfrm>
          <a:off x="496512" y="2456339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39456E-D7F8-4CCC-8AAF-509C7B533D01}">
      <dsp:nvSpPr>
        <dsp:cNvPr id="0" name=""/>
        <dsp:cNvSpPr/>
      </dsp:nvSpPr>
      <dsp:spPr bwMode="auto">
        <a:xfrm>
          <a:off x="534119" y="3639119"/>
          <a:ext cx="6571372" cy="727748"/>
        </a:xfrm>
        <a:prstGeom prst="rect">
          <a:avLst/>
        </a:prstGeom>
        <a:solidFill>
          <a:schemeClr val="accent5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Zugang zu neuen Lernformen</a:t>
          </a:r>
          <a:endParaRPr lang="de-DE" sz="2200" kern="1200"/>
        </a:p>
      </dsp:txBody>
      <dsp:txXfrm>
        <a:off x="534119" y="3639119"/>
        <a:ext cx="6571372" cy="727748"/>
      </dsp:txXfrm>
    </dsp:sp>
    <dsp:sp modelId="{3A2CD447-01DD-4BFE-87AF-B7378F0F7786}">
      <dsp:nvSpPr>
        <dsp:cNvPr id="0" name=""/>
        <dsp:cNvSpPr/>
      </dsp:nvSpPr>
      <dsp:spPr bwMode="auto">
        <a:xfrm>
          <a:off x="79277" y="3548150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AD1FC442-79DA-4C9F-836F-0CB1972FE134}" type="datetimeFigureOut">
              <a:rPr lang="de-DE"/>
              <a:t>16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08EC0F0-6FEC-4115-A888-5C6E15144039}" type="slidenum">
              <a:rPr lang="de-DE"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Diese Folie ist ausgeblendet und sollte es auch bleiben. 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Sie ist nur für die Lehrkräfte gedacht, die den medienpädagogischen Elternabend  zum Thema „Chancen von KI-Anwendungen in der Schule“ durchführen.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Auf dieser Folie finden Sie Tipps, Hinweise und Hintergrundinformationen, die Ihnen die erfolgreiche Gestaltung dieses Elternabends erleichtern. 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urz s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nur verantwortet und </a:t>
            </a:r>
            <a:r>
              <a:rPr lang="de-DE" b="1"/>
              <a:t>rechtskonform</a:t>
            </a:r>
            <a:r>
              <a:rPr lang="de-DE"/>
              <a:t> einse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Vier Bausteine: </a:t>
            </a:r>
            <a:r>
              <a:rPr lang="de-DE" b="1"/>
              <a:t>Datenschutz</a:t>
            </a:r>
            <a:r>
              <a:rPr lang="de-DE"/>
              <a:t>, </a:t>
            </a:r>
            <a:r>
              <a:rPr lang="de-DE" b="1"/>
              <a:t>Transparenz</a:t>
            </a:r>
            <a:r>
              <a:rPr lang="de-DE"/>
              <a:t>, </a:t>
            </a:r>
            <a:r>
              <a:rPr lang="de-DE" b="1"/>
              <a:t>Einverständnis</a:t>
            </a:r>
            <a:r>
              <a:rPr lang="de-DE"/>
              <a:t>, </a:t>
            </a:r>
            <a:r>
              <a:rPr lang="de-DE" b="1"/>
              <a:t>Ethik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Datenschutz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Nutzung nur mit </a:t>
            </a:r>
            <a:r>
              <a:rPr lang="de-DE" b="1"/>
              <a:t>DSGVO-konformen</a:t>
            </a:r>
            <a:r>
              <a:rPr lang="de-DE"/>
              <a:t>, schulisch freigegebenen Tool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Datenminimierung</a:t>
            </a:r>
            <a:r>
              <a:rPr lang="de-DE"/>
              <a:t>: nur nötige Daten, kein Upload sensibler Schülerdaten in offene KI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Verträge/Speicherort klären, Training mit Schuldaten ausschließ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Transparenz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Offenlegen: </a:t>
            </a:r>
            <a:r>
              <a:rPr lang="de-DE" b="1"/>
              <a:t>welches Tool, wofür, welche Daten, wie lange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Dokumentieren und für SuS/Eltern verständlich erklä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-Unterstützung bei Produkten </a:t>
            </a:r>
            <a:r>
              <a:rPr lang="de-DE" b="1"/>
              <a:t>kennzeichnen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Einverständni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Transparenz immer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willigung nur, wenn keine andere Rechtsgrundlage</a:t>
            </a:r>
            <a:r>
              <a:rPr lang="de-DE"/>
              <a:t> besteht</a:t>
            </a:r>
            <a:br>
              <a:rPr lang="de-DE"/>
            </a:br>
            <a:r>
              <a:rPr lang="de-DE"/>
              <a:t>– regelmäßig schulischer Auftrag/Schulrecht</a:t>
            </a:r>
            <a:br>
              <a:rPr lang="de-DE"/>
            </a:br>
            <a:r>
              <a:rPr lang="de-DE"/>
              <a:t>– </a:t>
            </a:r>
            <a:r>
              <a:rPr lang="de-DE" b="1"/>
              <a:t>Einwilligung nötig</a:t>
            </a:r>
            <a:r>
              <a:rPr lang="de-DE"/>
              <a:t> bei freiwilligen Angeboten, Veröffentlichungen, Bild/Ton von Kinder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Ethik (schulrelevante Beispiele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airness/Bias</a:t>
            </a:r>
            <a:r>
              <a:rPr lang="de-DE"/>
              <a:t>: Texte/Bilder können Vorurteile verstärken →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Urheberrecht</a:t>
            </a:r>
            <a:r>
              <a:rPr lang="de-DE"/>
              <a:t> und </a:t>
            </a:r>
            <a:r>
              <a:rPr lang="de-DE" b="1"/>
              <a:t>Autorschaft</a:t>
            </a:r>
            <a:r>
              <a:rPr lang="de-DE"/>
              <a:t>: Quellen nennen, KI-Anteil kenntlich ma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wertung</a:t>
            </a:r>
            <a:r>
              <a:rPr lang="de-DE"/>
              <a:t> bei der Lehrkraft, nicht bei der KI-Anwend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Verantwortungsvoller Umgang</a:t>
            </a:r>
            <a:r>
              <a:rPr lang="de-DE"/>
              <a:t>: Was kann KI, was nicht – Grenzen thematisier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Wichtig: Lehrkraft führt – transparent, datensparsam, fair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ist </a:t>
            </a:r>
            <a:r>
              <a:rPr lang="de-DE" b="1"/>
              <a:t>Werkzeug und Hilfsmittel</a:t>
            </a:r>
            <a:r>
              <a:rPr lang="de-DE"/>
              <a:t>, kein Ersatz für Lehrkräf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ntscheidend ist </a:t>
            </a:r>
            <a:r>
              <a:rPr lang="de-DE" b="1"/>
              <a:t>verantwortungsvoller, reflektierter Einsatz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KI als Werkzeu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entlastet Routinen, hilft bei Differenzierung und Ideenfind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raxis:</a:t>
            </a:r>
            <a:r>
              <a:rPr lang="de-DE"/>
              <a:t> Arbeitsblatt-Entwürfe, Lesetexte in Niveaus, adaptive Üb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eitplanke:</a:t>
            </a:r>
            <a:r>
              <a:rPr lang="de-DE"/>
              <a:t> Lehrkraft entscheidet, begleitet, bewertet; KI-Feedbacks sind nur Orientierung für SuS</a:t>
            </a:r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Medienkompetenz förder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Kinder lernen KI-Ergebnisse einzuordnen und zu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raxis:</a:t>
            </a:r>
            <a:r>
              <a:rPr lang="de-DE"/>
              <a:t> Quellen-Check, KI-Anteil kennzeichnen, Bias und Urheberrecht thematisie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iel:</a:t>
            </a:r>
            <a:r>
              <a:rPr lang="de-DE"/>
              <a:t> kritisches Denken und digitales Verantwortungsbewusstsei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Dialog gestal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Transparente Absprachen zwischen Schule, Eltern, Lerne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raxis:</a:t>
            </a:r>
            <a:r>
              <a:rPr lang="de-DE"/>
              <a:t> Klassenregeln zu KI, Infoangebote, fester Rückmeldekanal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iel:</a:t>
            </a:r>
            <a:r>
              <a:rPr lang="de-DE"/>
              <a:t> Vertrauen, Klarheit, gemeinsame Leitlinie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4AC3F3-92E0-B354-E8F4-AAE046D193BA}" type="slidenum">
              <a:rPr/>
              <a:t>12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0" i="0" u="none" strike="noStrike">
                <a:solidFill>
                  <a:srgbClr val="000000"/>
                </a:solidFill>
                <a:latin typeface="Helvetica"/>
              </a:rPr>
              <a:t>Bitte bei Verwendung der Grafiken folgende Quelle angeben: BLM Stiftung Medienpädagogik Bayern, CC-BY-NC-4.0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>
                <a:latin typeface="Arial"/>
                <a:cs typeface="Arial"/>
              </a:rPr>
              <a:t>Hinweis: Um feststehende Elemente auf einer Folie zu löschen, wählen Sie Ansicht  Master  Folienmaster oder wählen Sie dem Folienmaster im Suchfeld aus.</a:t>
            </a:r>
            <a:br>
              <a:rPr lang="de-DE" sz="1100">
                <a:latin typeface="Arial"/>
                <a:cs typeface="Arial"/>
              </a:rPr>
            </a:br>
            <a:br>
              <a:rPr lang="de-DE" sz="1100">
                <a:latin typeface="Arial"/>
                <a:cs typeface="Arial"/>
              </a:rPr>
            </a:br>
            <a:endParaRPr lang="de-DE" sz="1100">
              <a:latin typeface="Arial"/>
              <a:cs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 b="1"/>
              <a:t>Kernbotschaf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Heute: </a:t>
            </a:r>
            <a:r>
              <a:rPr lang="de-DE" sz="1100" b="1"/>
              <a:t>Was ist KI?</a:t>
            </a:r>
            <a:r>
              <a:rPr lang="de-DE" sz="1100"/>
              <a:t> Wie funktioniert sie – und was heißt das </a:t>
            </a:r>
            <a:r>
              <a:rPr lang="de-DE" sz="1100" b="1"/>
              <a:t>für Schule &amp; Kinder</a:t>
            </a:r>
            <a:r>
              <a:rPr lang="de-DE" sz="1100"/>
              <a:t>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I = Systeme, die </a:t>
            </a:r>
            <a:r>
              <a:rPr lang="de-DE" sz="1100" b="1"/>
              <a:t>aus Daten Muster lernen</a:t>
            </a:r>
            <a:r>
              <a:rPr lang="de-DE" sz="1100"/>
              <a:t> (keine „Magie“, kein Bewusstsein)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Ablauf mit Video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Kurzer Clip</a:t>
            </a:r>
            <a:r>
              <a:rPr lang="de-DE" sz="1100"/>
              <a:t> „Was ist eigentlich KI?“ (vom </a:t>
            </a:r>
            <a:r>
              <a:rPr lang="de-DE" sz="1100" b="1"/>
              <a:t>KI-Campus</a:t>
            </a:r>
            <a:r>
              <a:rPr lang="de-DE" sz="1100"/>
              <a:t>) abspiel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Eltern: </a:t>
            </a:r>
            <a:r>
              <a:rPr lang="de-DE" sz="1100" b="1"/>
              <a:t>QR-Code/Link</a:t>
            </a:r>
            <a:r>
              <a:rPr lang="de-DE" sz="1100"/>
              <a:t> nutzen; alternativ </a:t>
            </a:r>
            <a:r>
              <a:rPr lang="de-DE" sz="1100" b="1"/>
              <a:t>ohne Ton kurz zusammenfassen</a:t>
            </a:r>
            <a:endParaRPr lang="de-DE" sz="1100"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Gesprächsimpulse (30 Sek.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Handzeichen:</a:t>
            </a:r>
            <a:r>
              <a:rPr lang="de-DE" sz="1100"/>
              <a:t> Wer nutzt </a:t>
            </a:r>
            <a:r>
              <a:rPr lang="de-DE" sz="1100" b="1"/>
              <a:t>Sprachassistent/Übersetzer/Empfehlungen</a:t>
            </a:r>
            <a:r>
              <a:rPr lang="de-DE" sz="1100"/>
              <a:t>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Leitfrage: </a:t>
            </a:r>
            <a:r>
              <a:rPr lang="de-DE" sz="1100" b="1"/>
              <a:t>Wo</a:t>
            </a:r>
            <a:r>
              <a:rPr lang="de-DE" sz="1100"/>
              <a:t> begegnet Ihnen KI im Alltag Ihres Kindes?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Definitio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I = Maschinen imitieren menschliche Fähigkeiten</a:t>
            </a:r>
            <a:r>
              <a:rPr lang="de-DE"/>
              <a:t> (Denken, Lernen, Planen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ein Bewusstsein</a:t>
            </a:r>
            <a:r>
              <a:rPr lang="de-DE"/>
              <a:t> – es geht um </a:t>
            </a:r>
            <a:r>
              <a:rPr lang="de-DE" b="1"/>
              <a:t>Nachahmung</a:t>
            </a:r>
            <a:r>
              <a:rPr lang="de-DE"/>
              <a:t> von Leistungen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unktionsweis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Algorithmen + viele Daten → Mustererkenn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aschinelles Lernen:</a:t>
            </a:r>
            <a:r>
              <a:rPr lang="de-DE"/>
              <a:t> Modell berechnet </a:t>
            </a:r>
            <a:r>
              <a:rPr lang="de-DE" b="1"/>
              <a:t>Wahrscheinlichkeiten</a:t>
            </a:r>
            <a:r>
              <a:rPr lang="de-DE"/>
              <a:t> („was passt am ehesten?“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ehr &amp; passendes Training →</a:t>
            </a:r>
            <a:r>
              <a:rPr lang="de-DE"/>
              <a:t> Ergebnisse werden </a:t>
            </a:r>
            <a:r>
              <a:rPr lang="de-DE" b="1"/>
              <a:t>genauer/leistungsfähiger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Qualität nur so gut wie die </a:t>
            </a:r>
            <a:r>
              <a:rPr lang="de-DE" b="1"/>
              <a:t>Daten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Nichts Neues:</a:t>
            </a:r>
            <a:r>
              <a:rPr lang="de-DE" sz="1200">
                <a:latin typeface="Aptos"/>
                <a:cs typeface="Arial"/>
              </a:rPr>
              <a:t> KI-Forschung seit den </a:t>
            </a:r>
            <a:r>
              <a:rPr lang="de-DE" sz="1200" b="1">
                <a:latin typeface="Aptos"/>
                <a:cs typeface="Arial"/>
              </a:rPr>
              <a:t>1950ern</a:t>
            </a:r>
            <a:r>
              <a:rPr lang="de-DE" sz="1200">
                <a:latin typeface="Aptos"/>
                <a:cs typeface="Arial"/>
              </a:rPr>
              <a:t>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1950er:</a:t>
            </a:r>
            <a:r>
              <a:rPr lang="de-DE" sz="1200">
                <a:latin typeface="Aptos"/>
                <a:cs typeface="Arial"/>
              </a:rPr>
              <a:t> </a:t>
            </a:r>
            <a:r>
              <a:rPr lang="de-DE" sz="1200" b="1">
                <a:latin typeface="Aptos"/>
                <a:cs typeface="Arial"/>
              </a:rPr>
              <a:t>Turing-Test </a:t>
            </a:r>
            <a:r>
              <a:rPr lang="de-DE" sz="1200" b="0">
                <a:latin typeface="Aptos"/>
                <a:cs typeface="Arial"/>
              </a:rPr>
              <a:t>(zur Unterscheidung von Mensch und Computer)</a:t>
            </a:r>
            <a:r>
              <a:rPr lang="de-DE" sz="1200">
                <a:latin typeface="Aptos"/>
                <a:cs typeface="Arial"/>
              </a:rPr>
              <a:t>; erste Programme automatisieren einfache Aufgaben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1960er–80er:</a:t>
            </a:r>
            <a:r>
              <a:rPr lang="de-DE" sz="1200">
                <a:latin typeface="Aptos"/>
                <a:cs typeface="Arial"/>
              </a:rPr>
              <a:t> komplexere Systeme (</a:t>
            </a:r>
            <a:r>
              <a:rPr lang="de-DE" sz="1200" b="1">
                <a:latin typeface="Aptos"/>
                <a:cs typeface="Arial"/>
              </a:rPr>
              <a:t>Schach</a:t>
            </a:r>
            <a:r>
              <a:rPr lang="de-DE" sz="1200">
                <a:latin typeface="Aptos"/>
                <a:cs typeface="Arial"/>
              </a:rPr>
              <a:t>, Logik)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2000er:</a:t>
            </a:r>
            <a:r>
              <a:rPr lang="de-DE" sz="1200">
                <a:latin typeface="Aptos"/>
                <a:cs typeface="Arial"/>
              </a:rPr>
              <a:t> </a:t>
            </a:r>
            <a:r>
              <a:rPr lang="de-DE" sz="1200" b="1">
                <a:latin typeface="Aptos"/>
                <a:cs typeface="Arial"/>
              </a:rPr>
              <a:t>Big Data + Rechenleistung</a:t>
            </a:r>
            <a:r>
              <a:rPr lang="de-DE" sz="1200">
                <a:latin typeface="Aptos"/>
                <a:cs typeface="Arial"/>
              </a:rPr>
              <a:t> → maschinelles Lernen wird praxistauglich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Seit 2010:</a:t>
            </a:r>
            <a:r>
              <a:rPr lang="de-DE" sz="1200">
                <a:latin typeface="Aptos"/>
                <a:cs typeface="Arial"/>
              </a:rPr>
              <a:t> </a:t>
            </a:r>
            <a:r>
              <a:rPr lang="de-DE" sz="1200" b="1">
                <a:latin typeface="Aptos"/>
                <a:cs typeface="Arial"/>
              </a:rPr>
              <a:t>Deep Learning</a:t>
            </a:r>
            <a:r>
              <a:rPr lang="de-DE" sz="1200">
                <a:latin typeface="Aptos"/>
                <a:cs typeface="Arial"/>
              </a:rPr>
              <a:t>; große Sprachmodelle (z. B. ChatGPT)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Neuheit:</a:t>
            </a:r>
            <a:r>
              <a:rPr lang="de-DE" sz="1200">
                <a:latin typeface="Aptos"/>
                <a:cs typeface="Arial"/>
              </a:rPr>
              <a:t> KI kann </a:t>
            </a:r>
            <a:r>
              <a:rPr lang="de-DE" sz="1200" b="1">
                <a:latin typeface="Aptos"/>
                <a:cs typeface="Arial"/>
              </a:rPr>
              <a:t>Inhalte generieren</a:t>
            </a:r>
            <a:r>
              <a:rPr lang="de-DE" sz="1200">
                <a:latin typeface="Aptos"/>
                <a:cs typeface="Arial"/>
              </a:rPr>
              <a:t> (Text/Bild/Audio) – nicht nur erkennen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Brücke zur Schule:</a:t>
            </a:r>
            <a:r>
              <a:rPr lang="de-DE" sz="1200">
                <a:latin typeface="Aptos"/>
                <a:cs typeface="Arial"/>
              </a:rPr>
              <a:t> neue </a:t>
            </a:r>
            <a:r>
              <a:rPr lang="de-DE" sz="1200" b="1">
                <a:latin typeface="Aptos"/>
                <a:cs typeface="Arial"/>
              </a:rPr>
              <a:t>Lern- &amp; Feedback-Möglichkeiten</a:t>
            </a:r>
            <a:r>
              <a:rPr lang="de-DE" sz="1200">
                <a:latin typeface="Aptos"/>
                <a:cs typeface="Arial"/>
              </a:rPr>
              <a:t>; </a:t>
            </a:r>
            <a:r>
              <a:rPr lang="de-DE" sz="1200" b="1">
                <a:latin typeface="Aptos"/>
                <a:cs typeface="Arial"/>
              </a:rPr>
              <a:t>Bewertung bleibt menschlich</a:t>
            </a:r>
            <a:r>
              <a:rPr lang="de-DE" sz="1200">
                <a:latin typeface="Aptos"/>
                <a:cs typeface="Arial"/>
              </a:rPr>
              <a:t>.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b="1"/>
              <a:t>Ziel:</a:t>
            </a:r>
            <a:r>
              <a:rPr lang="de-DE"/>
              <a:t> Eltern verstehen, worüber Kinder sprechen (z. B. </a:t>
            </a:r>
            <a:r>
              <a:rPr lang="de-DE" b="1"/>
              <a:t>ChatGPT</a:t>
            </a:r>
            <a:r>
              <a:rPr lang="de-DE"/>
              <a:t>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LM:</a:t>
            </a:r>
            <a:r>
              <a:rPr lang="de-DE"/>
              <a:t> große </a:t>
            </a:r>
            <a:r>
              <a:rPr lang="de-DE" b="1"/>
              <a:t>Sprachmodelle</a:t>
            </a:r>
            <a:r>
              <a:rPr lang="de-DE"/>
              <a:t>; auf vielen Texten trainiert; sagen </a:t>
            </a:r>
            <a:r>
              <a:rPr lang="de-DE" b="1"/>
              <a:t>wahrscheinlich nächstes Wort</a:t>
            </a:r>
            <a:r>
              <a:rPr lang="de-DE"/>
              <a:t> voraus (z. B. ChatGPT, Gemini, Claude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Generative KI:</a:t>
            </a:r>
            <a:r>
              <a:rPr lang="de-DE"/>
              <a:t> </a:t>
            </a:r>
            <a:r>
              <a:rPr lang="de-DE" b="1"/>
              <a:t>erstellt Neues</a:t>
            </a:r>
            <a:r>
              <a:rPr lang="de-DE"/>
              <a:t> aus Vorgaben (Text, Bild, Audio, Video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aschinelles Lernen:</a:t>
            </a:r>
            <a:r>
              <a:rPr lang="de-DE"/>
              <a:t> aus </a:t>
            </a:r>
            <a:r>
              <a:rPr lang="de-DE" b="1"/>
              <a:t>Daten Muster lernen</a:t>
            </a:r>
            <a:r>
              <a:rPr lang="de-DE"/>
              <a:t> → Modell wird durch </a:t>
            </a:r>
            <a:r>
              <a:rPr lang="de-DE" b="1"/>
              <a:t>Training</a:t>
            </a:r>
            <a:r>
              <a:rPr lang="de-DE"/>
              <a:t> bess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erksatz:</a:t>
            </a:r>
            <a:r>
              <a:rPr lang="de-DE"/>
              <a:t> </a:t>
            </a:r>
            <a:r>
              <a:rPr lang="de-DE" i="1"/>
              <a:t>ML = Fundament</a:t>
            </a:r>
            <a:r>
              <a:rPr lang="de-DE"/>
              <a:t>, </a:t>
            </a:r>
            <a:r>
              <a:rPr lang="de-DE" i="1"/>
              <a:t>LLM = Sprachspezialist</a:t>
            </a:r>
            <a:r>
              <a:rPr lang="de-DE"/>
              <a:t>, </a:t>
            </a:r>
            <a:r>
              <a:rPr lang="de-DE" i="1"/>
              <a:t>generative KI = Inhalte erzeug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inweis:</a:t>
            </a:r>
            <a:r>
              <a:rPr lang="de-DE"/>
              <a:t> Ergebnisse </a:t>
            </a:r>
            <a:r>
              <a:rPr lang="de-DE" b="1"/>
              <a:t>prüfen</a:t>
            </a:r>
            <a:r>
              <a:rPr lang="de-DE"/>
              <a:t> (Fehler/Halluzinationen möglich)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Kernbotschaf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nder begegnen KI täglich in Medien, Spielen, Suche und beim Ler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: Chancen nutzen, Nutzung bewusst beglei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Wo begegnet sie den Kinder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oziale Medien:</a:t>
            </a:r>
            <a:r>
              <a:rPr lang="de-DE"/>
              <a:t> Chatbots, personalisierte Feeds und Empfehl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iele:</a:t>
            </a:r>
            <a:r>
              <a:rPr lang="de-DE"/>
              <a:t> Gegner-KI, dynamischer Schwierigkeitsgrad, personalisierte Quest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rachassistenten &amp; Suche:</a:t>
            </a:r>
            <a:r>
              <a:rPr lang="de-DE"/>
              <a:t> Siri, Alexa, Gemini; teils KI-Antworten als schneller Einstie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ern-Apps:</a:t>
            </a:r>
            <a:r>
              <a:rPr lang="de-DE"/>
              <a:t> Anton, Duolingo, Scoyo nutzen KI zur Anpassung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Positive Effekte von Lern-App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assende Aufgaben</a:t>
            </a:r>
            <a:r>
              <a:rPr lang="de-DE"/>
              <a:t> je nach Lernstand und Tempo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Unmittelbares Feedback</a:t>
            </a:r>
            <a:r>
              <a:rPr lang="de-DE"/>
              <a:t> und klare nächste Schrit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otivation</a:t>
            </a:r>
            <a:r>
              <a:rPr lang="de-DE"/>
              <a:t> durch kleine Erfolge, Gamification, individuelle Ziel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arriereärmerer Zugang</a:t>
            </a:r>
            <a:r>
              <a:rPr lang="de-DE"/>
              <a:t> z. B. Vorlesen, einfache Sprache, Übersetz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Transparenz für Lehrkräfte</a:t>
            </a:r>
            <a:r>
              <a:rPr lang="de-DE"/>
              <a:t> zu Fortschritt und Übungsschwerpunk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Leitplank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Inhalte und Datenschutzeinstellungen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se nicht ungeprüft übernehmen, immer gegencheck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Bei Fragen an Schule wenden – wir begleiten die Nutzung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Vorabinfo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Richtig eingesetzt bereichert KI Unterricht, schafft Zeit für pädagogische Kernaufga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Leitplanke: Lehrkraft steuert, prüft, bewerte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Individualisiertes und differenziertes Ler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KI-Anwendungen passen Inhalte, Schwierigkeit und Tempo an den Lernstand an und geben gezieltes Hinweis-Feedbac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Aufgaben in 3 Niveaus, vereinfachte Lesetexte, adaptive Matheübungen, Zusatzhilfen für DaZ/LRS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Unterstützung bei Routineaufga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Wiederkehrende Tätigkeiten werden automatisiert, damit mehr Raum für Interaktion entste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Entwürfe für Arbeitsblätter und Elternbriefe, Fragenpools und Mini-Quizzes, Rechtschreib-/Stilhinweise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örderung digitaler Kompeten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Bewusster KI-Einsatz stärkt Medienkompetenz, kritisches Denken und Verantwortungsbewusstsei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Quellen prüfen und KI-Antworten verifizieren, gute Prompts schreiben, Bias erkennen, Urheberrecht und Datenschutz beach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Zugang zu neuen Lernform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KI eröffnet kreative, multimodale Projekte und sichere Übungsräum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Podcast oder Hörspiel mit KI als Ideen- und Strukturhilfe, Bild-Text-Storytelling, Fremdsprachen-Chatbots für Rollenspiele, Debatten-Simulationen in D/GPG/SoWi</a:t>
            </a:r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Wichtig: Lehrkraft führt – KI unterstützt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Chancen nutzen, Risiken aktiv man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Drei Felder: Datenschutz, Verlässlichkeit, Übernutzung/Täuschung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Datenschutz &amp; Sicherhei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verarbeitet oft </a:t>
            </a:r>
            <a:r>
              <a:rPr lang="de-DE" b="1"/>
              <a:t>personenbezogene Dat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Nur </a:t>
            </a:r>
            <a:r>
              <a:rPr lang="de-DE" b="1"/>
              <a:t>zugelassene, DSGVO-konforme</a:t>
            </a:r>
            <a:r>
              <a:rPr lang="de-DE"/>
              <a:t> Tools; Rahmen: </a:t>
            </a:r>
            <a:r>
              <a:rPr lang="de-DE" b="1"/>
              <a:t>EU-KI-VO</a:t>
            </a:r>
            <a:r>
              <a:rPr lang="de-DE"/>
              <a:t>, Schulre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eine Schülerdaten</a:t>
            </a:r>
            <a:r>
              <a:rPr lang="de-DE"/>
              <a:t> in offene Systeme, </a:t>
            </a:r>
            <a:r>
              <a:rPr lang="de-DE" b="1"/>
              <a:t>genaue Prüfung</a:t>
            </a:r>
            <a:r>
              <a:rPr lang="de-DE"/>
              <a:t> vor Einsatz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Verlässlichkeit von Inhal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Inhalte können </a:t>
            </a:r>
            <a:r>
              <a:rPr lang="de-DE" b="1"/>
              <a:t>fehlerhaft</a:t>
            </a:r>
            <a:r>
              <a:rPr lang="de-DE"/>
              <a:t> oder </a:t>
            </a:r>
            <a:r>
              <a:rPr lang="de-DE" b="1"/>
              <a:t>verzerrt</a:t>
            </a:r>
            <a:r>
              <a:rPr lang="de-DE"/>
              <a:t> sein (</a:t>
            </a:r>
            <a:r>
              <a:rPr lang="de-DE" b="1"/>
              <a:t>Bias</a:t>
            </a:r>
            <a:r>
              <a:rPr lang="de-DE"/>
              <a:t>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Quellen-Check</a:t>
            </a:r>
            <a:r>
              <a:rPr lang="de-DE"/>
              <a:t>: Quelle öffnen, Datum prüfen, mit Fachwissen verglei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se als </a:t>
            </a:r>
            <a:r>
              <a:rPr lang="de-DE" b="1"/>
              <a:t>Entwurf</a:t>
            </a:r>
            <a:r>
              <a:rPr lang="de-DE"/>
              <a:t> nutzen, nicht als Endprodukt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Gefahr der Übernutzung oder Täusch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ist </a:t>
            </a:r>
            <a:r>
              <a:rPr lang="de-DE" b="1"/>
              <a:t>Hilfe, keine Abkürz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genleistung bleibt wichtig</a:t>
            </a:r>
            <a:r>
              <a:rPr lang="de-DE"/>
              <a:t>: KI-Nutzung kennzeichnen, praxisorientierte Aufga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Lernfortschritt sichern durch </a:t>
            </a:r>
            <a:r>
              <a:rPr lang="de-DE" b="1"/>
              <a:t>mündliche Checks</a:t>
            </a:r>
            <a:r>
              <a:rPr lang="de-DE"/>
              <a:t> und Prozessdokumentatio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ver 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50861" y="5124852"/>
            <a:ext cx="5545135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, consetetur </a:t>
            </a:r>
            <a:br>
              <a:rPr lang="de-DE"/>
            </a:br>
            <a:r>
              <a:rPr lang="de-DE"/>
              <a:t>sadipscing elitr, sed nonumy dolor </a:t>
            </a:r>
            <a:br>
              <a:rPr lang="de-DE"/>
            </a:br>
            <a:r>
              <a:rPr lang="de-DE"/>
              <a:t>eirmod tempor invidunt ut labore. 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0862" y="902151"/>
            <a:ext cx="673288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4800" b="1" i="0" cap="all" spc="100">
                <a:solidFill>
                  <a:srgbClr val="FFFCDC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 des Themenbereichs</a:t>
            </a:r>
            <a:endParaRPr/>
          </a:p>
        </p:txBody>
      </p:sp>
      <p:sp>
        <p:nvSpPr>
          <p:cNvPr id="2" name="Textfeld 1"/>
          <p:cNvSpPr txBox="1"/>
          <p:nvPr userDrawn="1"/>
        </p:nvSpPr>
        <p:spPr bwMode="auto">
          <a:xfrm>
            <a:off x="7793182" y="11222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1" y="4259555"/>
            <a:ext cx="6732885" cy="437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ERGÄNZUNG ODER UNTERÜBERSCHRIFT</a:t>
            </a: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Textplatzhalter 10"/>
          <p:cNvSpPr>
            <a:spLocks noGrp="1"/>
          </p:cNvSpPr>
          <p:nvPr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 bwMode="auto">
          <a:xfrm>
            <a:off x="7327557" y="-1"/>
            <a:ext cx="4864443" cy="62746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60513" y="1509553"/>
            <a:ext cx="6203969" cy="4765069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Textplatzhalter 17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036" y="515519"/>
            <a:ext cx="67709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6" name="Textplatzhalter 19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44293" y="778589"/>
            <a:ext cx="677090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57861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8" name="Image 2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1058943" y="2209359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pic>
        <p:nvPicPr>
          <p:cNvPr id="12" name="Image 6" descr="preencoded.png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7775756" y="2245908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594030" y="5308135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pic>
        <p:nvPicPr>
          <p:cNvPr id="10" name="Image 4" descr="preencoded.png"/>
          <p:cNvPicPr>
            <a:picLocks noChangeAspect="1"/>
          </p:cNvPicPr>
          <p:nvPr userDrawn="1"/>
        </p:nvPicPr>
        <p:blipFill>
          <a:blip r:embed="rId4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436641" y="5030087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pic>
        <p:nvPicPr>
          <p:cNvPr id="3" name="Image 0" descr="preencoded.png"/>
          <p:cNvPicPr>
            <a:picLocks noChangeAspect="1"/>
          </p:cNvPicPr>
          <p:nvPr userDrawn="1"/>
        </p:nvPicPr>
        <p:blipFill>
          <a:blip r:embed="rId5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4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1424450" y="1768063"/>
            <a:ext cx="541805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1424450" y="3042909"/>
            <a:ext cx="541805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4" name="Shape 1"/>
          <p:cNvSpPr/>
          <p:nvPr userDrawn="1"/>
        </p:nvSpPr>
        <p:spPr bwMode="auto">
          <a:xfrm>
            <a:off x="554327" y="1742985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Shape 4"/>
          <p:cNvSpPr/>
          <p:nvPr userDrawn="1"/>
        </p:nvSpPr>
        <p:spPr bwMode="auto">
          <a:xfrm>
            <a:off x="554327" y="3042909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Shape 7"/>
          <p:cNvSpPr/>
          <p:nvPr userDrawn="1"/>
        </p:nvSpPr>
        <p:spPr bwMode="auto">
          <a:xfrm>
            <a:off x="554327" y="4244487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3" name="Shape 10"/>
          <p:cNvSpPr/>
          <p:nvPr userDrawn="1"/>
        </p:nvSpPr>
        <p:spPr bwMode="auto">
          <a:xfrm>
            <a:off x="554327" y="5446066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5" name="Textplatzhalter 71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1424450" y="4242046"/>
            <a:ext cx="541805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16" name="Textplatzhalter 71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1424450" y="5443625"/>
            <a:ext cx="541805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22"/>
          </p:nvPr>
        </p:nvSpPr>
        <p:spPr bwMode="auto">
          <a:xfrm>
            <a:off x="7327557" y="-1"/>
            <a:ext cx="4864443" cy="62746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402526" y="3407841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9098923" y="3420836"/>
            <a:ext cx="2514695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6250725" y="3420837"/>
            <a:ext cx="2514695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3407841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pic>
        <p:nvPicPr>
          <p:cNvPr id="4" name="Image 1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465210" y="2100182"/>
            <a:ext cx="2815343" cy="747152"/>
          </a:xfrm>
          <a:prstGeom prst="rect">
            <a:avLst/>
          </a:prstGeom>
        </p:spPr>
      </p:pic>
      <p:pic>
        <p:nvPicPr>
          <p:cNvPr id="5" name="Image 2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3280553" y="2100182"/>
            <a:ext cx="2815446" cy="747152"/>
          </a:xfrm>
          <a:prstGeom prst="rect">
            <a:avLst/>
          </a:prstGeom>
        </p:spPr>
      </p:pic>
      <p:pic>
        <p:nvPicPr>
          <p:cNvPr id="6" name="Image 3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6095999" y="2100182"/>
            <a:ext cx="2815343" cy="747152"/>
          </a:xfrm>
          <a:prstGeom prst="rect">
            <a:avLst/>
          </a:prstGeom>
        </p:spPr>
      </p:pic>
      <p:pic>
        <p:nvPicPr>
          <p:cNvPr id="7" name="Image 4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8911342" y="2100182"/>
            <a:ext cx="2815446" cy="74715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4816731" y="2730840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554413" y="2730840"/>
            <a:ext cx="2514695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1088740" y="2743840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Shape 1"/>
          <p:cNvSpPr/>
          <p:nvPr userDrawn="1"/>
        </p:nvSpPr>
        <p:spPr bwMode="auto">
          <a:xfrm>
            <a:off x="554327" y="1920791"/>
            <a:ext cx="11059291" cy="18458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>
            <a:solidFill>
              <a:srgbClr val="E8DC7B"/>
            </a:solidFill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9" name="Shape 6"/>
          <p:cNvSpPr/>
          <p:nvPr userDrawn="1"/>
        </p:nvSpPr>
        <p:spPr bwMode="auto">
          <a:xfrm>
            <a:off x="2325887" y="1920741"/>
            <a:ext cx="45719" cy="782555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Shape 3"/>
          <p:cNvSpPr/>
          <p:nvPr userDrawn="1"/>
        </p:nvSpPr>
        <p:spPr bwMode="auto">
          <a:xfrm>
            <a:off x="2173050" y="1755971"/>
            <a:ext cx="346177" cy="329640"/>
          </a:xfrm>
          <a:prstGeom prst="roundRect">
            <a:avLst>
              <a:gd name="adj" fmla="val 18668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1" name="Shape 6"/>
          <p:cNvSpPr/>
          <p:nvPr userDrawn="1"/>
        </p:nvSpPr>
        <p:spPr bwMode="auto">
          <a:xfrm>
            <a:off x="6063569" y="1920742"/>
            <a:ext cx="45719" cy="782555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2" name="Shape 7"/>
          <p:cNvSpPr/>
          <p:nvPr userDrawn="1"/>
        </p:nvSpPr>
        <p:spPr bwMode="auto">
          <a:xfrm>
            <a:off x="5910732" y="1755971"/>
            <a:ext cx="346177" cy="329640"/>
          </a:xfrm>
          <a:prstGeom prst="roundRect">
            <a:avLst>
              <a:gd name="adj" fmla="val 18668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4" name="Shape 11"/>
          <p:cNvSpPr/>
          <p:nvPr userDrawn="1"/>
        </p:nvSpPr>
        <p:spPr bwMode="auto">
          <a:xfrm>
            <a:off x="9801251" y="1920743"/>
            <a:ext cx="45719" cy="782554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5" name="Shape 12"/>
          <p:cNvSpPr/>
          <p:nvPr userDrawn="1"/>
        </p:nvSpPr>
        <p:spPr bwMode="auto">
          <a:xfrm>
            <a:off x="9648414" y="1755971"/>
            <a:ext cx="346177" cy="329640"/>
          </a:xfrm>
          <a:prstGeom prst="roundRect">
            <a:avLst>
              <a:gd name="adj" fmla="val 18668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1" name="Textplatzhalter 10"/>
          <p:cNvSpPr>
            <a:spLocks noGrp="1" noRot="1" noMove="1" noResize="1" noEditPoints="1" noAdjustHandles="1" noChangeArrowheads="1" noChangeShapeType="1"/>
          </p:cNvSpPr>
          <p:nvPr userDrawn="1"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12" name="Textplatzhalter 11"/>
          <p:cNvSpPr>
            <a:spLocks noGrp="1" noRot="1" noChangeAspect="1" noMove="1" noResize="1" noEditPoints="1" noAdjustHandles="1" noChangeArrowheads="1" noChangeShapeType="1"/>
          </p:cNvSpPr>
          <p:nvPr userDrawn="1"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reihandform: Form 2"/>
          <p:cNvSpPr/>
          <p:nvPr userDrawn="1"/>
        </p:nvSpPr>
        <p:spPr bwMode="auto">
          <a:xfrm>
            <a:off x="213350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 userDrawn="1"/>
        </p:nvSpPr>
        <p:spPr bwMode="auto">
          <a:xfrm>
            <a:off x="369376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 userDrawn="1"/>
        </p:nvSpPr>
        <p:spPr bwMode="auto">
          <a:xfrm>
            <a:off x="2652810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 userDrawn="1"/>
        </p:nvSpPr>
        <p:spPr bwMode="auto">
          <a:xfrm>
            <a:off x="1614194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8" name="Freihandform: Form 7"/>
          <p:cNvSpPr/>
          <p:nvPr userDrawn="1"/>
        </p:nvSpPr>
        <p:spPr bwMode="auto">
          <a:xfrm>
            <a:off x="3168146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9" name="Freihandform: Form 8"/>
          <p:cNvSpPr/>
          <p:nvPr userDrawn="1"/>
        </p:nvSpPr>
        <p:spPr bwMode="auto">
          <a:xfrm>
            <a:off x="1094886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4" name="Freihandform: Form 4"/>
          <p:cNvSpPr/>
          <p:nvPr userDrawn="1"/>
        </p:nvSpPr>
        <p:spPr bwMode="auto">
          <a:xfrm>
            <a:off x="575578" y="6480332"/>
            <a:ext cx="180000" cy="180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grpSp>
        <p:nvGrpSpPr>
          <p:cNvPr id="49" name="Gruppieren 48"/>
          <p:cNvGrpSpPr/>
          <p:nvPr userDrawn="1"/>
        </p:nvGrpSpPr>
        <p:grpSpPr bwMode="auto">
          <a:xfrm>
            <a:off x="0" y="-141789"/>
            <a:ext cx="7948338" cy="4202173"/>
            <a:chOff x="0" y="-141789"/>
            <a:chExt cx="7948338" cy="4202173"/>
          </a:xfrm>
        </p:grpSpPr>
        <p:sp>
          <p:nvSpPr>
            <p:cNvPr id="43" name="Freihandform 42"/>
            <p:cNvSpPr/>
            <p:nvPr userDrawn="1"/>
          </p:nvSpPr>
          <p:spPr bwMode="auto">
            <a:xfrm rot="13735889">
              <a:off x="2308096" y="351702"/>
              <a:ext cx="4202173" cy="3215192"/>
            </a:xfrm>
            <a:custGeom>
              <a:avLst/>
              <a:gdLst>
                <a:gd name="connsiteX0" fmla="*/ 4201782 w 4202173"/>
                <a:gd name="connsiteY0" fmla="*/ 2179218 h 3215192"/>
                <a:gd name="connsiteX1" fmla="*/ 3332553 w 4202173"/>
                <a:gd name="connsiteY1" fmla="*/ 3176739 h 3215192"/>
                <a:gd name="connsiteX2" fmla="*/ 3213375 w 4202173"/>
                <a:gd name="connsiteY2" fmla="*/ 3196508 h 3215192"/>
                <a:gd name="connsiteX3" fmla="*/ 2220165 w 4202173"/>
                <a:gd name="connsiteY3" fmla="*/ 3150484 h 3215192"/>
                <a:gd name="connsiteX4" fmla="*/ 88068 w 4202173"/>
                <a:gd name="connsiteY4" fmla="*/ 1265960 h 3215192"/>
                <a:gd name="connsiteX5" fmla="*/ 3011345 w 4202173"/>
                <a:gd name="connsiteY5" fmla="*/ 11538 h 3215192"/>
                <a:gd name="connsiteX6" fmla="*/ 4202173 w 4202173"/>
                <a:gd name="connsiteY6" fmla="*/ 2044941 h 321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02173" h="3215192" extrusionOk="0">
                  <a:moveTo>
                    <a:pt x="4201782" y="2179218"/>
                  </a:moveTo>
                  <a:lnTo>
                    <a:pt x="3332553" y="3176739"/>
                  </a:lnTo>
                  <a:lnTo>
                    <a:pt x="3213375" y="3196508"/>
                  </a:lnTo>
                  <a:cubicBezTo>
                    <a:pt x="2893715" y="3236628"/>
                    <a:pt x="2539471" y="3207914"/>
                    <a:pt x="2220165" y="3150484"/>
                  </a:cubicBezTo>
                  <a:cubicBezTo>
                    <a:pt x="1376361" y="2997170"/>
                    <a:pt x="-416724" y="2378467"/>
                    <a:pt x="88068" y="1265960"/>
                  </a:cubicBezTo>
                  <a:cubicBezTo>
                    <a:pt x="592860" y="153452"/>
                    <a:pt x="2190126" y="-56526"/>
                    <a:pt x="3011345" y="11538"/>
                  </a:cubicBezTo>
                  <a:cubicBezTo>
                    <a:pt x="3774038" y="80772"/>
                    <a:pt x="4179417" y="1082780"/>
                    <a:pt x="4202173" y="2044941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5" name="Freihandform 44"/>
            <p:cNvSpPr/>
            <p:nvPr userDrawn="1"/>
          </p:nvSpPr>
          <p:spPr bwMode="auto">
            <a:xfrm>
              <a:off x="4243774" y="0"/>
              <a:ext cx="3704564" cy="3289426"/>
            </a:xfrm>
            <a:custGeom>
              <a:avLst/>
              <a:gdLst>
                <a:gd name="connsiteX0" fmla="*/ 2119791 w 3704564"/>
                <a:gd name="connsiteY0" fmla="*/ 0 h 3289426"/>
                <a:gd name="connsiteX1" fmla="*/ 2697650 w 3704564"/>
                <a:gd name="connsiteY1" fmla="*/ 0 h 3289426"/>
                <a:gd name="connsiteX2" fmla="*/ 2785686 w 3704564"/>
                <a:gd name="connsiteY2" fmla="*/ 29039 h 3289426"/>
                <a:gd name="connsiteX3" fmla="*/ 3703591 w 3704564"/>
                <a:gd name="connsiteY3" fmla="*/ 1953641 h 3289426"/>
                <a:gd name="connsiteX4" fmla="*/ 1451079 w 3704564"/>
                <a:gd name="connsiteY4" fmla="*/ 3255494 h 3289426"/>
                <a:gd name="connsiteX5" fmla="*/ 23745 w 3704564"/>
                <a:gd name="connsiteY5" fmla="*/ 1274993 h 3289426"/>
                <a:gd name="connsiteX6" fmla="*/ 2055769 w 3704564"/>
                <a:gd name="connsiteY6" fmla="*/ 12473 h 32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4564" h="3289426" extrusionOk="0">
                  <a:moveTo>
                    <a:pt x="2119791" y="0"/>
                  </a:moveTo>
                  <a:lnTo>
                    <a:pt x="2697650" y="0"/>
                  </a:lnTo>
                  <a:lnTo>
                    <a:pt x="2785686" y="29039"/>
                  </a:lnTo>
                  <a:cubicBezTo>
                    <a:pt x="3348473" y="258001"/>
                    <a:pt x="3726330" y="1025209"/>
                    <a:pt x="3703591" y="1953641"/>
                  </a:cubicBezTo>
                  <a:cubicBezTo>
                    <a:pt x="3677799" y="3014706"/>
                    <a:pt x="2182200" y="3415426"/>
                    <a:pt x="1451079" y="3255494"/>
                  </a:cubicBezTo>
                  <a:cubicBezTo>
                    <a:pt x="726552" y="3095383"/>
                    <a:pt x="-156612" y="1823384"/>
                    <a:pt x="23745" y="1274993"/>
                  </a:cubicBezTo>
                  <a:cubicBezTo>
                    <a:pt x="170284" y="829424"/>
                    <a:pt x="1270226" y="196157"/>
                    <a:pt x="2055769" y="12473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0" name="Freihandform 39"/>
            <p:cNvSpPr/>
            <p:nvPr userDrawn="1"/>
          </p:nvSpPr>
          <p:spPr bwMode="auto">
            <a:xfrm>
              <a:off x="0" y="0"/>
              <a:ext cx="3759048" cy="3427376"/>
            </a:xfrm>
            <a:custGeom>
              <a:avLst/>
              <a:gdLst>
                <a:gd name="connsiteX0" fmla="*/ 1533802 w 3759048"/>
                <a:gd name="connsiteY0" fmla="*/ 0 h 3427376"/>
                <a:gd name="connsiteX1" fmla="*/ 2608111 w 3759048"/>
                <a:gd name="connsiteY1" fmla="*/ 0 h 3427376"/>
                <a:gd name="connsiteX2" fmla="*/ 2620438 w 3759048"/>
                <a:gd name="connsiteY2" fmla="*/ 1407 h 3427376"/>
                <a:gd name="connsiteX3" fmla="*/ 2781319 w 3759048"/>
                <a:gd name="connsiteY3" fmla="*/ 27924 h 3427376"/>
                <a:gd name="connsiteX4" fmla="*/ 3724377 w 3759048"/>
                <a:gd name="connsiteY4" fmla="*/ 2509186 h 3427376"/>
                <a:gd name="connsiteX5" fmla="*/ 1652306 w 3759048"/>
                <a:gd name="connsiteY5" fmla="*/ 3276202 h 3427376"/>
                <a:gd name="connsiteX6" fmla="*/ 150832 w 3759048"/>
                <a:gd name="connsiteY6" fmla="*/ 2497914 h 3427376"/>
                <a:gd name="connsiteX7" fmla="*/ 0 w 3759048"/>
                <a:gd name="connsiteY7" fmla="*/ 2359105 h 3427376"/>
                <a:gd name="connsiteX8" fmla="*/ 0 w 3759048"/>
                <a:gd name="connsiteY8" fmla="*/ 698508 h 3427376"/>
                <a:gd name="connsiteX9" fmla="*/ 11267 w 3759048"/>
                <a:gd name="connsiteY9" fmla="*/ 685208 h 3427376"/>
                <a:gd name="connsiteX10" fmla="*/ 1516571 w 3759048"/>
                <a:gd name="connsiteY10" fmla="*/ 1754 h 3427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9048" h="3427376" extrusionOk="0">
                  <a:moveTo>
                    <a:pt x="1533802" y="0"/>
                  </a:moveTo>
                  <a:lnTo>
                    <a:pt x="2608111" y="0"/>
                  </a:lnTo>
                  <a:lnTo>
                    <a:pt x="2620438" y="1407"/>
                  </a:lnTo>
                  <a:cubicBezTo>
                    <a:pt x="2676910" y="9265"/>
                    <a:pt x="2730683" y="18173"/>
                    <a:pt x="2781319" y="27924"/>
                  </a:cubicBezTo>
                  <a:cubicBezTo>
                    <a:pt x="3583231" y="189290"/>
                    <a:pt x="3864992" y="1434718"/>
                    <a:pt x="3724377" y="2509186"/>
                  </a:cubicBezTo>
                  <a:cubicBezTo>
                    <a:pt x="3583988" y="3583677"/>
                    <a:pt x="2483372" y="3525538"/>
                    <a:pt x="1652306" y="3276202"/>
                  </a:cubicBezTo>
                  <a:cubicBezTo>
                    <a:pt x="1240605" y="3151836"/>
                    <a:pt x="605285" y="2879851"/>
                    <a:pt x="150832" y="2497914"/>
                  </a:cubicBezTo>
                  <a:lnTo>
                    <a:pt x="0" y="2359105"/>
                  </a:lnTo>
                  <a:lnTo>
                    <a:pt x="0" y="698508"/>
                  </a:lnTo>
                  <a:lnTo>
                    <a:pt x="11267" y="685208"/>
                  </a:lnTo>
                  <a:cubicBezTo>
                    <a:pt x="406379" y="275284"/>
                    <a:pt x="969683" y="76753"/>
                    <a:pt x="1516571" y="1754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0" r:id="rId2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5" imgW="7772400" imgH="10058400" progId="TCLayout.ActiveDocument.1">
                  <p:embed/>
                </p:oleObj>
              </mc:Choice>
              <mc:Fallback>
                <p:oleObj name="oleObj" r:id="rId15" imgW="7772400" imgH="1005840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22" name="Freihandform 21"/>
          <p:cNvSpPr/>
          <p:nvPr userDrawn="1"/>
        </p:nvSpPr>
        <p:spPr bwMode="auto">
          <a:xfrm rot="21289040">
            <a:off x="10722570" y="200240"/>
            <a:ext cx="1472723" cy="1020433"/>
          </a:xfrm>
          <a:custGeom>
            <a:avLst/>
            <a:gdLst>
              <a:gd name="connsiteX0" fmla="*/ 1012272 w 1559302"/>
              <a:gd name="connsiteY0" fmla="*/ 1420 h 1083206"/>
              <a:gd name="connsiteX1" fmla="*/ 1508010 w 1559302"/>
              <a:gd name="connsiteY1" fmla="*/ 389121 h 1083206"/>
              <a:gd name="connsiteX2" fmla="*/ 1559302 w 1559302"/>
              <a:gd name="connsiteY2" fmla="*/ 505984 h 1083206"/>
              <a:gd name="connsiteX3" fmla="*/ 1517685 w 1559302"/>
              <a:gd name="connsiteY3" fmla="*/ 964814 h 1083206"/>
              <a:gd name="connsiteX4" fmla="*/ 1441103 w 1559302"/>
              <a:gd name="connsiteY4" fmla="*/ 1018179 h 1083206"/>
              <a:gd name="connsiteX5" fmla="*/ 821443 w 1559302"/>
              <a:gd name="connsiteY5" fmla="*/ 1062436 h 1083206"/>
              <a:gd name="connsiteX6" fmla="*/ 5658 w 1559302"/>
              <a:gd name="connsiteY6" fmla="*/ 460105 h 1083206"/>
              <a:gd name="connsiteX7" fmla="*/ 1012272 w 1559302"/>
              <a:gd name="connsiteY7" fmla="*/ 1420 h 1083206"/>
              <a:gd name="connsiteX0" fmla="*/ 1028712 w 1575742"/>
              <a:gd name="connsiteY0" fmla="*/ 2514 h 1084300"/>
              <a:gd name="connsiteX1" fmla="*/ 1524450 w 1575742"/>
              <a:gd name="connsiteY1" fmla="*/ 390215 h 1084300"/>
              <a:gd name="connsiteX2" fmla="*/ 1575742 w 1575742"/>
              <a:gd name="connsiteY2" fmla="*/ 507078 h 1084300"/>
              <a:gd name="connsiteX3" fmla="*/ 1534125 w 1575742"/>
              <a:gd name="connsiteY3" fmla="*/ 965908 h 1084300"/>
              <a:gd name="connsiteX4" fmla="*/ 1457543 w 1575742"/>
              <a:gd name="connsiteY4" fmla="*/ 1019273 h 1084300"/>
              <a:gd name="connsiteX5" fmla="*/ 837883 w 1575742"/>
              <a:gd name="connsiteY5" fmla="*/ 1063530 h 1084300"/>
              <a:gd name="connsiteX6" fmla="*/ 22098 w 1575742"/>
              <a:gd name="connsiteY6" fmla="*/ 461199 h 1084300"/>
              <a:gd name="connsiteX7" fmla="*/ 1028712 w 1575742"/>
              <a:gd name="connsiteY7" fmla="*/ 2514 h 108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5742" h="1084300" extrusionOk="0">
                <a:moveTo>
                  <a:pt x="1028712" y="2514"/>
                </a:moveTo>
                <a:cubicBezTo>
                  <a:pt x="1229932" y="17329"/>
                  <a:pt x="1416068" y="186100"/>
                  <a:pt x="1524450" y="390215"/>
                </a:cubicBezTo>
                <a:lnTo>
                  <a:pt x="1575742" y="507078"/>
                </a:lnTo>
                <a:lnTo>
                  <a:pt x="1534125" y="965908"/>
                </a:lnTo>
                <a:lnTo>
                  <a:pt x="1457543" y="1019273"/>
                </a:lnTo>
                <a:cubicBezTo>
                  <a:pt x="1297498" y="1099373"/>
                  <a:pt x="1048487" y="1094253"/>
                  <a:pt x="837883" y="1063530"/>
                </a:cubicBezTo>
                <a:cubicBezTo>
                  <a:pt x="404650" y="1019453"/>
                  <a:pt x="-113874" y="791618"/>
                  <a:pt x="22098" y="461199"/>
                </a:cubicBezTo>
                <a:cubicBezTo>
                  <a:pt x="158070" y="130780"/>
                  <a:pt x="520310" y="-21846"/>
                  <a:pt x="1028712" y="2514"/>
                </a:cubicBezTo>
                <a:close/>
              </a:path>
            </a:pathLst>
          </a:custGeom>
          <a:solidFill>
            <a:srgbClr val="DEC62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  <a:defRPr/>
            </a:pP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mebis.bycs.de/beitrag/ki-in-der-schule" TargetMode="External"/><Relationship Id="rId3" Type="http://schemas.openxmlformats.org/officeDocument/2006/relationships/image" Target="../media/image11.jpg"/><Relationship Id="rId7" Type="http://schemas.openxmlformats.org/officeDocument/2006/relationships/hyperlink" Target="https://mebis.bycs.de/kategorien/medienerziehung/medienpaedagogische-elternarbei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ebis.bycs.de/kategorien/medienerziehung/themen-im-fokus-me/kuenstliche-intelligenz" TargetMode="External"/><Relationship Id="rId5" Type="http://schemas.openxmlformats.org/officeDocument/2006/relationships/hyperlink" Target="https://www.km.bayern.de/gestalten/digitalisierung/kuenstliche-intelligenz" TargetMode="External"/><Relationship Id="rId4" Type="http://schemas.openxmlformats.org/officeDocument/2006/relationships/hyperlink" Target="https://fibs.alp.dillingen.de/lehrgangssuche?container_id=410953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g"/><Relationship Id="rId3" Type="http://schemas.openxmlformats.org/officeDocument/2006/relationships/image" Target="../media/image42.png"/><Relationship Id="rId7" Type="http://schemas.openxmlformats.org/officeDocument/2006/relationships/image" Target="../media/image4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5.jpg"/><Relationship Id="rId5" Type="http://schemas.openxmlformats.org/officeDocument/2006/relationships/image" Target="../media/image44.jpg"/><Relationship Id="rId4" Type="http://schemas.openxmlformats.org/officeDocument/2006/relationships/image" Target="../media/image43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nc/4.0/deed.de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g"/><Relationship Id="rId13" Type="http://schemas.openxmlformats.org/officeDocument/2006/relationships/image" Target="../media/image55.jpg"/><Relationship Id="rId18" Type="http://schemas.openxmlformats.org/officeDocument/2006/relationships/image" Target="../media/image59.jpg"/><Relationship Id="rId3" Type="http://schemas.openxmlformats.org/officeDocument/2006/relationships/image" Target="../media/image43.jpg"/><Relationship Id="rId21" Type="http://schemas.openxmlformats.org/officeDocument/2006/relationships/image" Target="../media/image62.jpg"/><Relationship Id="rId7" Type="http://schemas.openxmlformats.org/officeDocument/2006/relationships/image" Target="../media/image50.jpg"/><Relationship Id="rId12" Type="http://schemas.openxmlformats.org/officeDocument/2006/relationships/image" Target="../media/image54.jpg"/><Relationship Id="rId17" Type="http://schemas.openxmlformats.org/officeDocument/2006/relationships/image" Target="../media/image58.jpg"/><Relationship Id="rId25" Type="http://schemas.openxmlformats.org/officeDocument/2006/relationships/image" Target="../media/image64.jp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1.jpg"/><Relationship Id="rId20" Type="http://schemas.openxmlformats.org/officeDocument/2006/relationships/image" Target="../media/image61.jp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6.jpg"/><Relationship Id="rId11" Type="http://schemas.openxmlformats.org/officeDocument/2006/relationships/image" Target="../media/image53.jpg"/><Relationship Id="rId24" Type="http://schemas.openxmlformats.org/officeDocument/2006/relationships/image" Target="../media/image44.jpg"/><Relationship Id="rId5" Type="http://schemas.openxmlformats.org/officeDocument/2006/relationships/image" Target="../media/image49.jpg"/><Relationship Id="rId15" Type="http://schemas.openxmlformats.org/officeDocument/2006/relationships/image" Target="../media/image57.jpg"/><Relationship Id="rId23" Type="http://schemas.openxmlformats.org/officeDocument/2006/relationships/image" Target="../media/image45.jpg"/><Relationship Id="rId10" Type="http://schemas.openxmlformats.org/officeDocument/2006/relationships/image" Target="../media/image52.jpg"/><Relationship Id="rId19" Type="http://schemas.openxmlformats.org/officeDocument/2006/relationships/image" Target="../media/image60.jpg"/><Relationship Id="rId4" Type="http://schemas.openxmlformats.org/officeDocument/2006/relationships/image" Target="../media/image48.jpg"/><Relationship Id="rId9" Type="http://schemas.openxmlformats.org/officeDocument/2006/relationships/image" Target="../media/image47.jpg"/><Relationship Id="rId14" Type="http://schemas.openxmlformats.org/officeDocument/2006/relationships/image" Target="../media/image56.jpg"/><Relationship Id="rId22" Type="http://schemas.openxmlformats.org/officeDocument/2006/relationships/image" Target="../media/image63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ki-campus.org/videos/wasistki" TargetMode="External"/><Relationship Id="rId5" Type="http://schemas.openxmlformats.org/officeDocument/2006/relationships/image" Target="../media/image12.png"/><Relationship Id="rId4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image" Target="../media/image18.png"/><Relationship Id="rId7" Type="http://schemas.openxmlformats.org/officeDocument/2006/relationships/image" Target="../media/image2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5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</a:t>
            </a:fld>
            <a:endParaRPr lang="de-DE"/>
          </a:p>
        </p:txBody>
      </p:sp>
      <p:pic>
        <p:nvPicPr>
          <p:cNvPr id="6" name="Grafik 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50863" y="1779342"/>
            <a:ext cx="1029384" cy="1029384"/>
          </a:xfrm>
          <a:prstGeom prst="rect">
            <a:avLst/>
          </a:prstGeom>
        </p:spPr>
      </p:pic>
      <p:sp>
        <p:nvSpPr>
          <p:cNvPr id="7" name="Textplatzhalter 1"/>
          <p:cNvSpPr txBox="1"/>
          <p:nvPr/>
        </p:nvSpPr>
        <p:spPr bwMode="auto">
          <a:xfrm>
            <a:off x="1580247" y="1687988"/>
            <a:ext cx="9877426" cy="5004895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>
            <a:normAutofit fontScale="92500" lnSpcReduction="10000"/>
          </a:bodyPr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/>
              <a:t>… noch einige wichtige Hinweise: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Informieren Sie sich über die Grundlagen der Arbeit mit KI-Anwendungen, indem Sie den entsprechenden </a:t>
            </a:r>
            <a:r>
              <a:rPr lang="de-DE" u="sng">
                <a:hlinkClick r:id="rId4" tooltip="https://fibs.alp.dillingen.de/lehrgangssuche?container_id=410953"/>
              </a:rPr>
              <a:t>Selbstlernkurs</a:t>
            </a:r>
            <a:r>
              <a:rPr lang="de-DE"/>
              <a:t> der ALP Dillingen bearbeiten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Beachten Sie die Hinweise des </a:t>
            </a:r>
            <a:r>
              <a:rPr lang="de-DE" u="sng">
                <a:hlinkClick r:id="rId5" tooltip="https://www.km.bayern.de/gestalten/digitalisierung/kuenstliche-intelligenz"/>
              </a:rPr>
              <a:t>StMUK</a:t>
            </a:r>
            <a:r>
              <a:rPr lang="de-DE"/>
              <a:t> zu Künstlicher Intelligenz in Schule und Unterricht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Weitere Hinweise zum Thema „Künstliche Intelligenz“ finden Sie auch im </a:t>
            </a:r>
            <a:r>
              <a:rPr lang="de-DE" u="sng">
                <a:hlinkClick r:id="rId6" tooltip="https://mebis.bycs.de/kategorien/medienerziehung/themen-im-fokus-me/kuenstliche-intelligenz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Holen Sie sich Tipps zur Durchführung eines medienpädagogischen Elternabends ebenfalls im </a:t>
            </a:r>
            <a:r>
              <a:rPr lang="de-DE" u="sng">
                <a:hlinkClick r:id="rId7" tooltip="https://mebis.bycs.de/kategorien/medienerziehung/medienpaedagogische-elternarbeit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Eine Sammlung mit Argumentationshilfen bei kritischen Elternfragen finden Sie </a:t>
            </a:r>
            <a:r>
              <a:rPr lang="de-DE" u="sng">
                <a:hlinkClick r:id="rId8" tooltip="https://mebis.bycs.de/beitrag/ki-in-der-schule"/>
              </a:rPr>
              <a:t>hier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endParaRPr lang="de-DE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 bwMode="auto">
          <a:xfrm>
            <a:off x="1528385" y="2497087"/>
            <a:ext cx="2710476" cy="1261883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de-DE" sz="3600" b="1">
                <a:highlight>
                  <a:srgbClr val="DEC628"/>
                </a:highlight>
              </a:rPr>
              <a:t>Datenschutz</a:t>
            </a:r>
            <a:endParaRPr lang="de-DE" sz="360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>
              <a:highlight>
                <a:srgbClr val="DEC628"/>
              </a:highlight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42795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Datenschutz &amp; ethische Aspekte</a:t>
            </a:r>
            <a:endParaRPr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8266950" y="2497087"/>
            <a:ext cx="2645337" cy="1261883"/>
          </a:xfrm>
        </p:spPr>
        <p:txBody>
          <a:bodyPr/>
          <a:lstStyle/>
          <a:p>
            <a:pPr algn="ctr">
              <a:spcAft>
                <a:spcPts val="1200"/>
              </a:spcAft>
              <a:defRPr/>
            </a:pPr>
            <a:r>
              <a:rPr lang="de-DE" sz="3600" b="1" dirty="0">
                <a:highlight>
                  <a:srgbClr val="DEC628"/>
                </a:highlight>
              </a:rPr>
              <a:t>Transparenz</a:t>
            </a:r>
            <a:endParaRPr sz="3600" dirty="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 dirty="0">
              <a:highlight>
                <a:srgbClr val="DEC628"/>
              </a:highlight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 bwMode="auto">
          <a:xfrm>
            <a:off x="8266950" y="4835749"/>
            <a:ext cx="2396664" cy="1261883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de-DE" sz="3600" b="1">
                <a:highlight>
                  <a:srgbClr val="DEC628"/>
                </a:highlight>
              </a:rPr>
              <a:t>Ethik</a:t>
            </a:r>
            <a:endParaRPr sz="360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>
              <a:highlight>
                <a:srgbClr val="DEC628"/>
              </a:highlight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 bwMode="auto">
          <a:xfrm>
            <a:off x="1102659" y="4808646"/>
            <a:ext cx="3269611" cy="1261883"/>
          </a:xfrm>
        </p:spPr>
        <p:txBody>
          <a:bodyPr/>
          <a:lstStyle/>
          <a:p>
            <a:pPr algn="ctr">
              <a:spcAft>
                <a:spcPts val="1200"/>
              </a:spcAft>
              <a:defRPr/>
            </a:pPr>
            <a:r>
              <a:rPr lang="de-DE" sz="3600" b="1" dirty="0">
                <a:highlight>
                  <a:srgbClr val="DEC628"/>
                </a:highlight>
              </a:rPr>
              <a:t>Einverständnis</a:t>
            </a:r>
            <a:endParaRPr sz="3600" dirty="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 dirty="0">
              <a:highlight>
                <a:srgbClr val="DEC628"/>
              </a:highlight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0</a:t>
            </a:fld>
            <a:endParaRPr lang="de-DE"/>
          </a:p>
        </p:txBody>
      </p:sp>
      <p:pic>
        <p:nvPicPr>
          <p:cNvPr id="9" name="Image 1" descr="preencoded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27361" y="2670610"/>
            <a:ext cx="540132" cy="649715"/>
          </a:xfrm>
          <a:prstGeom prst="rect">
            <a:avLst/>
          </a:prstGeom>
        </p:spPr>
      </p:pic>
      <p:pic>
        <p:nvPicPr>
          <p:cNvPr id="10" name="Image 3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816208" y="2924410"/>
            <a:ext cx="651267" cy="783397"/>
          </a:xfrm>
          <a:prstGeom prst="rect">
            <a:avLst/>
          </a:prstGeom>
        </p:spPr>
      </p:pic>
      <p:pic>
        <p:nvPicPr>
          <p:cNvPr id="11" name="Image 5" descr="preencoded.png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490574" y="4513859"/>
            <a:ext cx="651267" cy="783397"/>
          </a:xfrm>
          <a:prstGeom prst="rect">
            <a:avLst/>
          </a:prstGeom>
        </p:spPr>
      </p:pic>
      <p:pic>
        <p:nvPicPr>
          <p:cNvPr id="12" name="Image 7" descr="preencoded.png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4890875" y="4456601"/>
            <a:ext cx="540132" cy="6497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1</a:t>
            </a:fld>
            <a:endParaRPr lang="de-DE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 bwMode="auto">
          <a:xfrm>
            <a:off x="556036" y="515519"/>
            <a:ext cx="6770908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 bwMode="auto">
          <a:xfrm>
            <a:off x="544293" y="778589"/>
            <a:ext cx="6770907" cy="430887"/>
          </a:xfrm>
        </p:spPr>
        <p:txBody>
          <a:bodyPr/>
          <a:lstStyle/>
          <a:p>
            <a:pPr>
              <a:defRPr/>
            </a:pPr>
            <a:r>
              <a:rPr lang="de-DE"/>
              <a:t>Ziele in der nutzung</a:t>
            </a:r>
            <a:endParaRPr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7666971" y="6475333"/>
            <a:ext cx="3970702" cy="262240"/>
            <a:chOff x="7666971" y="6475333"/>
            <a:chExt cx="3970702" cy="262240"/>
          </a:xfrm>
        </p:grpSpPr>
        <p:sp>
          <p:nvSpPr>
            <p:cNvPr id="4" name="Foliennummernplatzhalter 5"/>
            <p:cNvSpPr txBox="1"/>
            <p:nvPr/>
          </p:nvSpPr>
          <p:spPr bwMode="auto">
            <a:xfrm>
              <a:off x="7666971" y="6491352"/>
              <a:ext cx="3970702" cy="24622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in Vater hilft seinem Kind bei den Hausaufgaben – erstellt mit ChatGPT 4.o am 05.06.2025</a:t>
              </a:r>
              <a:endParaRPr/>
            </a:p>
            <a:p>
              <a:pPr algn="r">
                <a:defRPr/>
              </a:pPr>
              <a:endParaRPr lang="de-DE">
                <a:solidFill>
                  <a:srgbClr val="DEC628"/>
                </a:solidFill>
                <a:latin typeface="Aptos"/>
              </a:endParaRPr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Shape 1"/>
          <p:cNvSpPr/>
          <p:nvPr/>
        </p:nvSpPr>
        <p:spPr bwMode="auto">
          <a:xfrm>
            <a:off x="554326" y="1641484"/>
            <a:ext cx="3014373" cy="2922407"/>
          </a:xfrm>
          <a:prstGeom prst="roundRect">
            <a:avLst>
              <a:gd name="adj" fmla="val 2464"/>
            </a:avLst>
          </a:prstGeom>
          <a:solidFill>
            <a:schemeClr val="bg1">
              <a:lumMod val="95000"/>
            </a:schemeClr>
          </a:solidFill>
          <a:ln w="7620">
            <a:noFill/>
            <a:prstDash val="solid"/>
          </a:ln>
        </p:spPr>
        <p:txBody>
          <a:bodyPr lIns="108000" tIns="108000" rIns="108000" bIns="72000"/>
          <a:lstStyle/>
          <a:p>
            <a:pPr lvl="0">
              <a:spcAft>
                <a:spcPts val="1200"/>
              </a:spcAft>
              <a:buClr>
                <a:srgbClr val="DEC628"/>
              </a:buClr>
              <a:defRPr/>
            </a:pPr>
            <a:r>
              <a:rPr lang="de-DE" b="1">
                <a:latin typeface="Aptos"/>
              </a:rPr>
              <a:t>KI als Werkzeug</a:t>
            </a:r>
            <a:endParaRPr lang="de-DE">
              <a:latin typeface="Aptos"/>
            </a:endParaRPr>
          </a:p>
        </p:txBody>
      </p:sp>
      <p:sp>
        <p:nvSpPr>
          <p:cNvPr id="13" name="Shape 7"/>
          <p:cNvSpPr/>
          <p:nvPr/>
        </p:nvSpPr>
        <p:spPr bwMode="auto">
          <a:xfrm>
            <a:off x="554326" y="4621321"/>
            <a:ext cx="6377813" cy="1813833"/>
          </a:xfrm>
          <a:prstGeom prst="roundRect">
            <a:avLst>
              <a:gd name="adj" fmla="val 3946"/>
            </a:avLst>
          </a:prstGeom>
          <a:solidFill>
            <a:schemeClr val="bg1">
              <a:lumMod val="95000"/>
            </a:schemeClr>
          </a:solidFill>
          <a:ln w="7620">
            <a:noFill/>
            <a:prstDash val="solid"/>
          </a:ln>
        </p:spPr>
        <p:txBody>
          <a:bodyPr lIns="108000" tIns="108000" rIns="108000" bIns="108000"/>
          <a:lstStyle/>
          <a:p>
            <a:pPr lvl="0">
              <a:spcAft>
                <a:spcPts val="1200"/>
              </a:spcAft>
              <a:buClr>
                <a:srgbClr val="DEC628"/>
              </a:buClr>
              <a:defRPr/>
            </a:pPr>
            <a:r>
              <a:rPr lang="de-DE" b="1">
                <a:latin typeface="Aptos"/>
              </a:rPr>
              <a:t>Dialog gestalten</a:t>
            </a:r>
            <a:endParaRPr/>
          </a:p>
          <a:p>
            <a:pPr lvl="0">
              <a:buClr>
                <a:srgbClr val="DEC628"/>
              </a:buClr>
              <a:defRPr/>
            </a:pPr>
            <a:endParaRPr lang="de-DE"/>
          </a:p>
        </p:txBody>
      </p:sp>
      <p:sp>
        <p:nvSpPr>
          <p:cNvPr id="17" name="Shape 1"/>
          <p:cNvSpPr/>
          <p:nvPr/>
        </p:nvSpPr>
        <p:spPr bwMode="auto">
          <a:xfrm>
            <a:off x="3743232" y="1641484"/>
            <a:ext cx="3188218" cy="2922407"/>
          </a:xfrm>
          <a:prstGeom prst="roundRect">
            <a:avLst>
              <a:gd name="adj" fmla="val 2464"/>
            </a:avLst>
          </a:prstGeom>
          <a:solidFill>
            <a:schemeClr val="bg1">
              <a:lumMod val="95000"/>
            </a:schemeClr>
          </a:solidFill>
          <a:ln w="7620">
            <a:noFill/>
            <a:prstDash val="solid"/>
          </a:ln>
        </p:spPr>
        <p:txBody>
          <a:bodyPr lIns="108000" tIns="108000" rIns="108000" bIns="108000"/>
          <a:lstStyle/>
          <a:p>
            <a:pPr lvl="0">
              <a:spcAft>
                <a:spcPts val="1200"/>
              </a:spcAft>
              <a:buClr>
                <a:srgbClr val="DEC628"/>
              </a:buClr>
              <a:defRPr/>
            </a:pPr>
            <a:r>
              <a:rPr lang="de-DE" b="1">
                <a:latin typeface="Aptos"/>
              </a:rPr>
              <a:t>Medienkompetenz fördern</a:t>
            </a:r>
            <a:endParaRPr lang="de-DE">
              <a:latin typeface="Aptos"/>
            </a:endParaRPr>
          </a:p>
        </p:txBody>
      </p:sp>
      <p:pic>
        <p:nvPicPr>
          <p:cNvPr id="20" name="Image 0" descr="preencoded.png"/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6995" b="6995"/>
          <a:stretch/>
        </p:blipFill>
        <p:spPr bwMode="auto">
          <a:prstGeom prst="rect">
            <a:avLst/>
          </a:prstGeom>
        </p:spPr>
      </p:pic>
      <p:pic>
        <p:nvPicPr>
          <p:cNvPr id="12" name="Grafik 11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914327" y="2174481"/>
            <a:ext cx="2106378" cy="2106378"/>
          </a:xfrm>
          <a:prstGeom prst="rect">
            <a:avLst/>
          </a:prstGeom>
        </p:spPr>
      </p:pic>
      <p:pic>
        <p:nvPicPr>
          <p:cNvPr id="14" name="Grafik 13" descr="Ein Bild, das Filmklappe, Text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3964117" y="2370263"/>
            <a:ext cx="1058737" cy="1058737"/>
          </a:xfrm>
          <a:prstGeom prst="rect">
            <a:avLst/>
          </a:prstGeom>
        </p:spPr>
      </p:pic>
      <p:pic>
        <p:nvPicPr>
          <p:cNvPr id="16" name="Grafik 15" descr="Ein Bild, das Design enthält.&#10;&#10;KI-generierte Inhalte können fehlerhaft sein.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5243739" y="2899631"/>
            <a:ext cx="1175921" cy="1175921"/>
          </a:xfrm>
          <a:prstGeom prst="rect">
            <a:avLst/>
          </a:prstGeom>
        </p:spPr>
      </p:pic>
      <p:pic>
        <p:nvPicPr>
          <p:cNvPr id="19" name="Grafik 18" descr="Ein Bild, das Grafiken, Symbol, rot, Schrift enthält.&#10;&#10;KI-generierte Inhalte können fehlerhaft sein.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2400323" y="5202386"/>
            <a:ext cx="1072234" cy="1072234"/>
          </a:xfrm>
          <a:prstGeom prst="rect">
            <a:avLst/>
          </a:prstGeom>
        </p:spPr>
      </p:pic>
      <p:pic>
        <p:nvPicPr>
          <p:cNvPr id="21" name="Grafik 20" descr="Ein Bild, das Smiley, Clipart, Lächeln, Cartoon enthält.&#10;&#10;KI-generierte Inhalte können fehlerhaft sein.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3472557" y="5202387"/>
            <a:ext cx="1072233" cy="1072233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8441690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4" y="515520"/>
            <a:ext cx="9220972" cy="213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299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 sz="1400" b="0" i="0" u="none" strike="noStrike" cap="none" spc="299">
                <a:solidFill>
                  <a:schemeClr val="bg1">
                    <a:lumMod val="75000"/>
                  </a:schemeClr>
                </a:solidFill>
                <a:latin typeface="Aptos"/>
                <a:ea typeface="Aptos"/>
                <a:cs typeface="Aptos"/>
              </a:rPr>
              <a:t>Künstliche Intelligenz – eine Einführung</a:t>
            </a:r>
            <a:endParaRPr/>
          </a:p>
        </p:txBody>
      </p:sp>
      <p:sp>
        <p:nvSpPr>
          <p:cNvPr id="724725953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7"/>
            <a:ext cx="9218812" cy="4270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99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r>
              <a:t>Quellenangaben:</a:t>
            </a:r>
          </a:p>
        </p:txBody>
      </p:sp>
      <p:sp>
        <p:nvSpPr>
          <p:cNvPr id="977105629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6" y="6552906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33499573-600D-A13C-4129-D899F7DF7906}" type="slidenum">
              <a:rPr lang="de-DE"/>
              <a:t>12</a:t>
            </a:fld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2A67CD2-16F3-CA94-9C00-0B6C83049B43}"/>
              </a:ext>
            </a:extLst>
          </p:cNvPr>
          <p:cNvSpPr txBox="1"/>
          <p:nvPr/>
        </p:nvSpPr>
        <p:spPr bwMode="auto">
          <a:xfrm>
            <a:off x="554326" y="1426381"/>
            <a:ext cx="9794243" cy="1195777"/>
          </a:xfrm>
          <a:prstGeom prst="rect">
            <a:avLst/>
          </a:prstGeom>
          <a:noFill/>
        </p:spPr>
        <p:txBody>
          <a:bodyPr vert="horz" wrap="square" lIns="91440" tIns="45720" rIns="91440" bIns="45720" numCol="1" spcCol="0" rtlCol="0" fromWordArt="0" anchor="t" anchorCtr="0" forceAA="0" compatLnSpc="0">
            <a:spAutoFit/>
          </a:bodyPr>
          <a:lstStyle>
            <a:defPPr>
              <a:defRPr lang="de-DE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Präsentation: erstellt von ISB, Arbeitskreis Medienerziehung, lizenziert unter </a:t>
            </a:r>
            <a:r>
              <a:rPr lang="de-DE" dirty="0">
                <a:solidFill>
                  <a:srgbClr val="000000"/>
                </a:solidFill>
                <a:latin typeface="Helvetica"/>
                <a:hlinkClick r:id="rId3"/>
              </a:rPr>
              <a:t>CC-BY-NC.4.0</a:t>
            </a:r>
            <a:endParaRPr lang="de-DE" dirty="0">
              <a:solidFill>
                <a:srgbClr val="000000"/>
              </a:solidFill>
              <a:latin typeface="Helvetica"/>
            </a:endParaRPr>
          </a:p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Bilder: KI-generiert mit </a:t>
            </a:r>
            <a:r>
              <a:rPr lang="de-DE" dirty="0" err="1">
                <a:solidFill>
                  <a:srgbClr val="000000"/>
                </a:solidFill>
                <a:latin typeface="Helvetica"/>
              </a:rPr>
              <a:t>ChatGPT</a:t>
            </a:r>
            <a:r>
              <a:rPr lang="de-DE" dirty="0">
                <a:solidFill>
                  <a:srgbClr val="000000"/>
                </a:solidFill>
                <a:latin typeface="Helvetica"/>
              </a:rPr>
              <a:t> 4</a:t>
            </a:r>
          </a:p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Graphiken: soweit nicht anders gekennzeichnet von BLM Stiftung Medienpädagogik Bayern, lizenziert unter </a:t>
            </a:r>
            <a:r>
              <a:rPr lang="de-DE" dirty="0">
                <a:solidFill>
                  <a:srgbClr val="000000"/>
                </a:solidFill>
                <a:latin typeface="Helvetica"/>
                <a:hlinkClick r:id="rId3"/>
              </a:rPr>
              <a:t>CC-BY-NC-4.0</a:t>
            </a:r>
            <a:endParaRPr lang="de-DE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Icons mit CC-BY-Lizenz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3</a:t>
            </a:fld>
            <a:endParaRPr lang="de-DE"/>
          </a:p>
        </p:txBody>
      </p:sp>
      <p:pic>
        <p:nvPicPr>
          <p:cNvPr id="10" name="Grafik 9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684120" y="2838901"/>
            <a:ext cx="2106378" cy="2106378"/>
          </a:xfrm>
          <a:prstGeom prst="rect">
            <a:avLst/>
          </a:prstGeom>
        </p:spPr>
      </p:pic>
      <p:pic>
        <p:nvPicPr>
          <p:cNvPr id="12" name="Grafik 11" descr="Ein Bild, das Kleidung, Maske, Masque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7068410" y="5136385"/>
            <a:ext cx="998560" cy="998560"/>
          </a:xfrm>
          <a:prstGeom prst="rect">
            <a:avLst/>
          </a:prstGeom>
        </p:spPr>
      </p:pic>
      <p:pic>
        <p:nvPicPr>
          <p:cNvPr id="14" name="Grafik 13" descr="Ein Bild, das Lupe, Kreis, Spiegel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984298" y="1568763"/>
            <a:ext cx="817445" cy="817445"/>
          </a:xfrm>
          <a:prstGeom prst="rect">
            <a:avLst/>
          </a:prstGeom>
        </p:spPr>
      </p:pic>
      <p:pic>
        <p:nvPicPr>
          <p:cNvPr id="16" name="Grafik 15" descr="Ein Bild, das Grafiken, Symbol, rot, Schrift enthält.&#10;&#10;KI-generierte Inhalte können fehlerhaft sein.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5087242" y="5154751"/>
            <a:ext cx="1072234" cy="1072234"/>
          </a:xfrm>
          <a:prstGeom prst="rect">
            <a:avLst/>
          </a:prstGeom>
        </p:spPr>
      </p:pic>
      <p:pic>
        <p:nvPicPr>
          <p:cNvPr id="18" name="Grafik 17" descr="Ein Bild, das Glühbirne, Licht enthält.&#10;&#10;KI-generierte Inhalte können fehlerhaft sein.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6412203" y="1431133"/>
            <a:ext cx="817445" cy="817445"/>
          </a:xfrm>
          <a:prstGeom prst="rect">
            <a:avLst/>
          </a:prstGeom>
        </p:spPr>
      </p:pic>
      <p:pic>
        <p:nvPicPr>
          <p:cNvPr id="20" name="Grafik 19" descr="Ein Bild, das Clipart, Design enthält.&#10;&#10;KI-generierte Inhalte können fehlerhaft sein.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9073686" y="5486144"/>
            <a:ext cx="907387" cy="907387"/>
          </a:xfrm>
          <a:prstGeom prst="rect">
            <a:avLst/>
          </a:prstGeom>
        </p:spPr>
      </p:pic>
      <p:pic>
        <p:nvPicPr>
          <p:cNvPr id="22" name="Grafik 21" descr="Ein Bild, das Smiley, Clipart, Lächeln, Cartoon enthält.&#10;&#10;KI-generierte Inhalte können fehlerhaft sein."/>
          <p:cNvPicPr>
            <a:picLocks noChangeAspect="1"/>
          </p:cNvPicPr>
          <p:nvPr/>
        </p:nvPicPr>
        <p:blipFill>
          <a:blip r:embed="rId9"/>
          <a:stretch/>
        </p:blipFill>
        <p:spPr bwMode="auto">
          <a:xfrm>
            <a:off x="6460144" y="2940703"/>
            <a:ext cx="963735" cy="963735"/>
          </a:xfrm>
          <a:prstGeom prst="rect">
            <a:avLst/>
          </a:prstGeom>
        </p:spPr>
      </p:pic>
      <p:pic>
        <p:nvPicPr>
          <p:cNvPr id="24" name="Grafik 23" descr="Ein Bild, das Clipart, Grafiken, Cartoon, Kreativität enthält.&#10;&#10;KI-generierte Inhalte können fehlerhaft sein."/>
          <p:cNvPicPr>
            <a:picLocks noChangeAspect="1"/>
          </p:cNvPicPr>
          <p:nvPr/>
        </p:nvPicPr>
        <p:blipFill>
          <a:blip r:embed="rId10"/>
          <a:stretch/>
        </p:blipFill>
        <p:spPr bwMode="auto">
          <a:xfrm>
            <a:off x="8494436" y="4106152"/>
            <a:ext cx="1029384" cy="1029384"/>
          </a:xfrm>
          <a:prstGeom prst="rect">
            <a:avLst/>
          </a:prstGeom>
        </p:spPr>
      </p:pic>
      <p:pic>
        <p:nvPicPr>
          <p:cNvPr id="26" name="Grafik 25" descr="Ein Bild, das Symbol, Design enthält.&#10;&#10;KI-generierte Inhalte können fehlerhaft sein.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8202597" y="2713058"/>
            <a:ext cx="874640" cy="874640"/>
          </a:xfrm>
          <a:prstGeom prst="rect">
            <a:avLst/>
          </a:prstGeom>
        </p:spPr>
      </p:pic>
      <p:pic>
        <p:nvPicPr>
          <p:cNvPr id="28" name="Grafik 27" descr="Ein Bild, das Schloss, Metallwaren, Vorhängeschloss enthält.&#10;&#10;KI-generierte Inhalte können fehlerhaft sein."/>
          <p:cNvPicPr>
            <a:picLocks noChangeAspect="1"/>
          </p:cNvPicPr>
          <p:nvPr/>
        </p:nvPicPr>
        <p:blipFill>
          <a:blip r:embed="rId12"/>
          <a:stretch/>
        </p:blipFill>
        <p:spPr bwMode="auto">
          <a:xfrm>
            <a:off x="3340055" y="5513131"/>
            <a:ext cx="874639" cy="874639"/>
          </a:xfrm>
          <a:prstGeom prst="rect">
            <a:avLst/>
          </a:prstGeom>
        </p:spPr>
      </p:pic>
      <p:pic>
        <p:nvPicPr>
          <p:cNvPr id="30" name="Grafik 29" descr="Ein Bild, das Design enthält.&#10;&#10;KI-generierte Inhalte können fehlerhaft sein."/>
          <p:cNvPicPr>
            <a:picLocks noChangeAspect="1"/>
          </p:cNvPicPr>
          <p:nvPr/>
        </p:nvPicPr>
        <p:blipFill>
          <a:blip r:embed="rId13"/>
          <a:stretch/>
        </p:blipFill>
        <p:spPr bwMode="auto">
          <a:xfrm>
            <a:off x="2041335" y="5491906"/>
            <a:ext cx="895864" cy="895864"/>
          </a:xfrm>
          <a:prstGeom prst="rect">
            <a:avLst/>
          </a:prstGeom>
        </p:spPr>
      </p:pic>
      <p:pic>
        <p:nvPicPr>
          <p:cNvPr id="32" name="Grafik 31" descr="Ein Bild, das Karte, Erde, Welt, Planet enthält.&#10;&#10;KI-generierte Inhalte können fehlerhaft sein."/>
          <p:cNvPicPr>
            <a:picLocks noChangeAspect="1"/>
          </p:cNvPicPr>
          <p:nvPr/>
        </p:nvPicPr>
        <p:blipFill>
          <a:blip r:embed="rId14"/>
          <a:stretch/>
        </p:blipFill>
        <p:spPr bwMode="auto">
          <a:xfrm>
            <a:off x="10475103" y="5154751"/>
            <a:ext cx="1182471" cy="1182471"/>
          </a:xfrm>
          <a:prstGeom prst="rect">
            <a:avLst/>
          </a:prstGeom>
        </p:spPr>
      </p:pic>
      <p:pic>
        <p:nvPicPr>
          <p:cNvPr id="34" name="Grafik 33" descr="Ein Bild, das Symbol, Logo, Markenzeichen, Emblem enthält.&#10;&#10;KI-generierte Inhalte können fehlerhaft sein."/>
          <p:cNvPicPr>
            <a:picLocks noChangeAspect="1"/>
          </p:cNvPicPr>
          <p:nvPr/>
        </p:nvPicPr>
        <p:blipFill>
          <a:blip r:embed="rId15"/>
          <a:stretch/>
        </p:blipFill>
        <p:spPr bwMode="auto">
          <a:xfrm>
            <a:off x="534426" y="5301977"/>
            <a:ext cx="1035245" cy="1035245"/>
          </a:xfrm>
          <a:prstGeom prst="rect">
            <a:avLst/>
          </a:prstGeom>
        </p:spPr>
      </p:pic>
      <p:pic>
        <p:nvPicPr>
          <p:cNvPr id="36" name="Grafik 3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16"/>
          <a:stretch/>
        </p:blipFill>
        <p:spPr bwMode="auto">
          <a:xfrm>
            <a:off x="2059577" y="4202502"/>
            <a:ext cx="1029384" cy="1029384"/>
          </a:xfrm>
          <a:prstGeom prst="rect">
            <a:avLst/>
          </a:prstGeom>
        </p:spPr>
      </p:pic>
      <p:pic>
        <p:nvPicPr>
          <p:cNvPr id="38" name="Grafik 37" descr="Ein Bild, das Clipart, Grafiken, Kreativität, Design enthält.&#10;&#10;KI-generierte Inhalte können fehlerhaft sein."/>
          <p:cNvPicPr>
            <a:picLocks noChangeAspect="1"/>
          </p:cNvPicPr>
          <p:nvPr/>
        </p:nvPicPr>
        <p:blipFill>
          <a:blip r:embed="rId17">
            <a:grayscl/>
          </a:blip>
          <a:stretch/>
        </p:blipFill>
        <p:spPr bwMode="auto">
          <a:xfrm>
            <a:off x="517051" y="4175036"/>
            <a:ext cx="987181" cy="987181"/>
          </a:xfrm>
          <a:prstGeom prst="rect">
            <a:avLst/>
          </a:prstGeom>
        </p:spPr>
      </p:pic>
      <p:pic>
        <p:nvPicPr>
          <p:cNvPr id="40" name="Grafik 39" descr="Ein Bild, das Clipart, Grafiken, Kreativität, Design enthält.&#10;&#10;KI-generierte Inhalte können fehlerhaft sein."/>
          <p:cNvPicPr>
            <a:picLocks noChangeAspect="1"/>
          </p:cNvPicPr>
          <p:nvPr/>
        </p:nvPicPr>
        <p:blipFill>
          <a:blip r:embed="rId18"/>
          <a:stretch/>
        </p:blipFill>
        <p:spPr bwMode="auto">
          <a:xfrm>
            <a:off x="1890774" y="2745495"/>
            <a:ext cx="1196987" cy="1196987"/>
          </a:xfrm>
          <a:prstGeom prst="rect">
            <a:avLst/>
          </a:prstGeom>
        </p:spPr>
      </p:pic>
      <p:pic>
        <p:nvPicPr>
          <p:cNvPr id="42" name="Grafik 41" descr="Ein Bild, das Symbol, Logo enthält.&#10;&#10;KI-generierte Inhalte können fehlerhaft sein."/>
          <p:cNvPicPr>
            <a:picLocks noChangeAspect="1"/>
          </p:cNvPicPr>
          <p:nvPr/>
        </p:nvPicPr>
        <p:blipFill>
          <a:blip r:embed="rId19"/>
          <a:stretch/>
        </p:blipFill>
        <p:spPr bwMode="auto">
          <a:xfrm>
            <a:off x="432459" y="2947132"/>
            <a:ext cx="963735" cy="963735"/>
          </a:xfrm>
          <a:prstGeom prst="rect">
            <a:avLst/>
          </a:prstGeom>
        </p:spPr>
      </p:pic>
      <p:pic>
        <p:nvPicPr>
          <p:cNvPr id="44" name="Grafik 43" descr="Ein Bild, das Logo, Kreis, Grafiken, Grafikdesign enthält.&#10;&#10;KI-generierte Inhalte können fehlerhaft sein."/>
          <p:cNvPicPr>
            <a:picLocks noChangeAspect="1"/>
          </p:cNvPicPr>
          <p:nvPr/>
        </p:nvPicPr>
        <p:blipFill>
          <a:blip r:embed="rId20"/>
          <a:stretch/>
        </p:blipFill>
        <p:spPr bwMode="auto">
          <a:xfrm>
            <a:off x="3651518" y="1526143"/>
            <a:ext cx="963735" cy="963735"/>
          </a:xfrm>
          <a:prstGeom prst="rect">
            <a:avLst/>
          </a:prstGeom>
        </p:spPr>
      </p:pic>
      <p:pic>
        <p:nvPicPr>
          <p:cNvPr id="46" name="Grafik 45" descr="Ein Bild, das Sanduhr, Design enthält.&#10;&#10;KI-generierte Inhalte können fehlerhaft sein."/>
          <p:cNvPicPr>
            <a:picLocks noChangeAspect="1"/>
          </p:cNvPicPr>
          <p:nvPr/>
        </p:nvPicPr>
        <p:blipFill>
          <a:blip r:embed="rId21"/>
          <a:stretch/>
        </p:blipFill>
        <p:spPr bwMode="auto">
          <a:xfrm>
            <a:off x="8794750" y="1531243"/>
            <a:ext cx="697621" cy="697621"/>
          </a:xfrm>
          <a:prstGeom prst="rect">
            <a:avLst/>
          </a:prstGeom>
        </p:spPr>
      </p:pic>
      <p:pic>
        <p:nvPicPr>
          <p:cNvPr id="48" name="Grafik 47" descr="Ein Bild, das Clipart enthält.&#10;&#10;KI-generierte Inhalte können fehlerhaft sein."/>
          <p:cNvPicPr>
            <a:picLocks noChangeAspect="1"/>
          </p:cNvPicPr>
          <p:nvPr/>
        </p:nvPicPr>
        <p:blipFill>
          <a:blip r:embed="rId22"/>
          <a:stretch/>
        </p:blipFill>
        <p:spPr bwMode="auto">
          <a:xfrm>
            <a:off x="9982199" y="3150377"/>
            <a:ext cx="1794901" cy="1794901"/>
          </a:xfrm>
          <a:prstGeom prst="rect">
            <a:avLst/>
          </a:prstGeom>
        </p:spPr>
      </p:pic>
      <p:pic>
        <p:nvPicPr>
          <p:cNvPr id="50" name="Grafik 49" descr="Ein Bild, das Design enthält.&#10;&#10;KI-generierte Inhalte können fehlerhaft sein."/>
          <p:cNvPicPr>
            <a:picLocks noChangeAspect="1"/>
          </p:cNvPicPr>
          <p:nvPr/>
        </p:nvPicPr>
        <p:blipFill>
          <a:blip r:embed="rId23"/>
          <a:stretch/>
        </p:blipFill>
        <p:spPr bwMode="auto">
          <a:xfrm>
            <a:off x="10291689" y="1974455"/>
            <a:ext cx="1175921" cy="1175921"/>
          </a:xfrm>
          <a:prstGeom prst="rect">
            <a:avLst/>
          </a:prstGeom>
        </p:spPr>
      </p:pic>
      <p:pic>
        <p:nvPicPr>
          <p:cNvPr id="52" name="Grafik 51" descr="Ein Bild, das Filmklappe, Text enthält.&#10;&#10;KI-generierte Inhalte können fehlerhaft sein."/>
          <p:cNvPicPr>
            <a:picLocks noChangeAspect="1"/>
          </p:cNvPicPr>
          <p:nvPr/>
        </p:nvPicPr>
        <p:blipFill>
          <a:blip r:embed="rId24"/>
          <a:stretch/>
        </p:blipFill>
        <p:spPr bwMode="auto">
          <a:xfrm>
            <a:off x="2059577" y="1431141"/>
            <a:ext cx="1058737" cy="1058737"/>
          </a:xfrm>
          <a:prstGeom prst="rect">
            <a:avLst/>
          </a:prstGeom>
        </p:spPr>
      </p:pic>
      <p:pic>
        <p:nvPicPr>
          <p:cNvPr id="56" name="Grafik 55" descr="Ein Bild, das Kreis, Grafiken, Design, Clipart enthält.&#10;&#10;KI-generierte Inhalte können fehlerhaft sein."/>
          <p:cNvPicPr>
            <a:picLocks noChangeAspect="1"/>
          </p:cNvPicPr>
          <p:nvPr/>
        </p:nvPicPr>
        <p:blipFill>
          <a:blip r:embed="rId25"/>
          <a:stretch/>
        </p:blipFill>
        <p:spPr bwMode="auto">
          <a:xfrm>
            <a:off x="534426" y="1556022"/>
            <a:ext cx="909270" cy="909270"/>
          </a:xfrm>
          <a:prstGeom prst="rect">
            <a:avLst/>
          </a:prstGeom>
        </p:spPr>
      </p:pic>
      <p:grpSp>
        <p:nvGrpSpPr>
          <p:cNvPr id="2" name="Gruppieren 1"/>
          <p:cNvGrpSpPr/>
          <p:nvPr/>
        </p:nvGrpSpPr>
        <p:grpSpPr bwMode="auto">
          <a:xfrm>
            <a:off x="8925392" y="6475333"/>
            <a:ext cx="2712281" cy="200685"/>
            <a:chOff x="8925392" y="6475333"/>
            <a:chExt cx="2712281" cy="200685"/>
          </a:xfrm>
        </p:grpSpPr>
        <p:sp>
          <p:nvSpPr>
            <p:cNvPr id="3" name="Foliennummernplatzhalter 5"/>
            <p:cNvSpPr txBox="1"/>
            <p:nvPr/>
          </p:nvSpPr>
          <p:spPr bwMode="auto">
            <a:xfrm>
              <a:off x="8925392" y="6552907"/>
              <a:ext cx="2712281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: BLM Stiftung Medienpädagogik Bayern, CC-BY-NC-4.0</a:t>
              </a:r>
              <a:endParaRPr/>
            </a:p>
          </p:txBody>
        </p:sp>
        <p:cxnSp>
          <p:nvCxnSpPr>
            <p:cNvPr id="4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1" y="5124852"/>
            <a:ext cx="5545135" cy="594137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WAS IST KI UND WIE FUNKTIONIERT SIE?</a:t>
            </a:r>
            <a:endParaRPr/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353121" y="6475333"/>
            <a:ext cx="3284552" cy="200685"/>
            <a:chOff x="8353121" y="6475333"/>
            <a:chExt cx="3284552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353121" y="6552907"/>
              <a:ext cx="3284552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 dirty="0">
                  <a:solidFill>
                    <a:srgbClr val="DEC628"/>
                  </a:solidFill>
                  <a:latin typeface="Aptos"/>
                </a:rPr>
                <a:t>Ein Junge lernt mit KI am Computer – erstellt mit </a:t>
              </a:r>
              <a:r>
                <a:rPr lang="de-DE" dirty="0" err="1">
                  <a:solidFill>
                    <a:srgbClr val="DEC628"/>
                  </a:solidFill>
                  <a:latin typeface="Aptos"/>
                </a:rPr>
                <a:t>ChatGPT</a:t>
              </a:r>
              <a:r>
                <a:rPr lang="de-DE" dirty="0">
                  <a:solidFill>
                    <a:srgbClr val="DEC628"/>
                  </a:solidFill>
                  <a:latin typeface="Aptos"/>
                </a:rPr>
                <a:t> 4 am 05.06.2025</a:t>
              </a:r>
              <a:endParaRPr dirty="0"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2" y="1016951"/>
            <a:ext cx="7319923" cy="1292662"/>
          </a:xfrm>
        </p:spPr>
        <p:txBody>
          <a:bodyPr/>
          <a:lstStyle/>
          <a:p>
            <a:pPr>
              <a:defRPr/>
            </a:pPr>
            <a:r>
              <a:rPr lang="de-DE" sz="4200"/>
              <a:t>Künstliche Intelligenz – Eine Einführung</a:t>
            </a:r>
            <a:endParaRPr/>
          </a:p>
        </p:txBody>
      </p:sp>
      <p:pic>
        <p:nvPicPr>
          <p:cNvPr id="4" name="Grafik 3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025833" y="2617836"/>
            <a:ext cx="4952037" cy="3301358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EINSTIEG INS THEMA </a:t>
            </a:r>
            <a:endParaRPr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/>
        </p:blipFill>
        <p:spPr bwMode="auto">
          <a:xfrm>
            <a:off x="11117364" y="387531"/>
            <a:ext cx="652481" cy="626749"/>
          </a:xfrm>
          <a:prstGeom prst="rect">
            <a:avLst/>
          </a:prstGeom>
        </p:spPr>
      </p:pic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3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460520" y="6475333"/>
            <a:ext cx="3177153" cy="200685"/>
            <a:chOff x="8460520" y="6475333"/>
            <a:chExt cx="3177153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460520" y="6552907"/>
              <a:ext cx="3177153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: KI-Campus: https://ki-campus.org/overview/video CC BY-SA 4.0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pic>
        <p:nvPicPr>
          <p:cNvPr id="6" name="Grafik 5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9317947" y="4619558"/>
            <a:ext cx="2475048" cy="1650032"/>
          </a:xfrm>
          <a:prstGeom prst="rect">
            <a:avLst/>
          </a:prstGeom>
        </p:spPr>
      </p:pic>
      <p:pic>
        <p:nvPicPr>
          <p:cNvPr id="9" name="Inhaltsplatzhalter 8">
            <a:hlinkClick r:id="rId6"/>
          </p:cNvPr>
          <p:cNvPicPr>
            <a:picLocks noGrp="1" noChangeAspect="1"/>
          </p:cNvPicPr>
          <p:nvPr>
            <p:ph sz="quarter" idx="11"/>
          </p:nvPr>
        </p:nvPicPr>
        <p:blipFill>
          <a:blip r:embed="rId7"/>
          <a:stretch/>
        </p:blipFill>
        <p:spPr bwMode="auto">
          <a:xfrm>
            <a:off x="2278201" y="1438313"/>
            <a:ext cx="6492875" cy="3255430"/>
          </a:xfrm>
        </p:spPr>
      </p:pic>
      <p:sp>
        <p:nvSpPr>
          <p:cNvPr id="10" name="Textfeld 9"/>
          <p:cNvSpPr txBox="1"/>
          <p:nvPr/>
        </p:nvSpPr>
        <p:spPr bwMode="auto">
          <a:xfrm>
            <a:off x="2278201" y="4865689"/>
            <a:ext cx="65652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3000">
                <a:solidFill>
                  <a:srgbClr val="DEC628"/>
                </a:solidFill>
                <a:latin typeface="Aptos"/>
              </a:rPr>
              <a:t>Was ist eigentlich Künstliche Intelligenz?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:w="http://schemas.openxmlformats.org/wordprocessingml/2006/main" xmlns:m="http://schemas.openxmlformats.org/officeDocument/2006/math" xmlns="">
      <p:transition spd="slow" advClick="1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Grundlagen und Funktionsweise</a:t>
            </a:r>
            <a:endParaRPr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auto">
          <a:xfrm>
            <a:off x="554326" y="2056104"/>
            <a:ext cx="5356355" cy="2535664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b="1" spc="-36">
                <a:solidFill>
                  <a:srgbClr val="272525"/>
                </a:solidFill>
                <a:ea typeface="Inter"/>
                <a:cs typeface="Arial"/>
              </a:rPr>
              <a:t>Definition</a:t>
            </a:r>
            <a:endParaRPr lang="de-DE" spc="-36">
              <a:solidFill>
                <a:srgbClr val="272525"/>
              </a:solidFill>
              <a:ea typeface="Inter"/>
              <a:cs typeface="Arial"/>
            </a:endParaRPr>
          </a:p>
          <a:p>
            <a:pPr marL="0" indent="0">
              <a:buNone/>
              <a:defRPr/>
            </a:pPr>
            <a:r>
              <a:rPr lang="de-DE" sz="1800"/>
              <a:t>„Künstliche Intelligenz ist die Fähigkeit einer Maschine, menschliche Fähigkeiten wie logisches Denken, Lernen, Planen und Kreativität zu imitieren.“</a:t>
            </a:r>
            <a:endParaRPr/>
          </a:p>
          <a:p>
            <a:pPr marL="0" indent="0">
              <a:buNone/>
              <a:defRPr/>
            </a:pPr>
            <a:r>
              <a:rPr lang="de-DE" sz="1400" i="1"/>
              <a:t>(Europäisches Parlament – Website) </a:t>
            </a:r>
            <a:endParaRPr/>
          </a:p>
          <a:p>
            <a:pPr marL="0" indent="0">
              <a:buNone/>
              <a:defRPr/>
            </a:pPr>
            <a:endParaRPr lang="de-DE" sz="1400"/>
          </a:p>
          <a:p>
            <a:pPr marL="0" indent="0">
              <a:buNone/>
              <a:defRPr/>
            </a:pP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 marL="0" indent="0">
              <a:buNone/>
              <a:defRPr/>
            </a:pPr>
            <a:r>
              <a:rPr lang="de-DE" b="1" spc="-36">
                <a:solidFill>
                  <a:srgbClr val="272525"/>
                </a:solidFill>
                <a:ea typeface="Inter"/>
                <a:cs typeface="Arial"/>
              </a:rPr>
              <a:t>Funktionsweise</a:t>
            </a:r>
            <a:endParaRPr lang="de-DE" sz="2400" b="1" spc="-36">
              <a:solidFill>
                <a:srgbClr val="272525"/>
              </a:solidFill>
              <a:ea typeface="Inter"/>
              <a:cs typeface="Arial"/>
            </a:endParaRPr>
          </a:p>
          <a:p>
            <a:pPr>
              <a:defRPr/>
            </a:pPr>
            <a:r>
              <a:rPr lang="de-DE" sz="1800" spc="-36">
                <a:solidFill>
                  <a:srgbClr val="272525"/>
                </a:solidFill>
                <a:ea typeface="Inter"/>
                <a:cs typeface="Arial"/>
              </a:rPr>
              <a:t>Künstliche Intelligenz (KI): nutzt Algorithmen, zur Analyse von großen Datenmengen und Erkennung  von Mustern </a:t>
            </a:r>
            <a:endParaRPr/>
          </a:p>
          <a:p>
            <a:pPr>
              <a:defRPr/>
            </a:pPr>
            <a:r>
              <a:rPr lang="de-DE" sz="1800" spc="-36">
                <a:solidFill>
                  <a:srgbClr val="272525"/>
                </a:solidFill>
                <a:ea typeface="Inter"/>
                <a:cs typeface="Arial"/>
              </a:rPr>
              <a:t>Maschinelles Lernen: Ein </a:t>
            </a:r>
            <a:r>
              <a:rPr lang="de-DE" sz="1800" spc="-36">
                <a:solidFill>
                  <a:srgbClr val="272525"/>
                </a:solidFill>
                <a:ea typeface="Inter"/>
              </a:rPr>
              <a:t>System lernt, </a:t>
            </a:r>
            <a:r>
              <a:rPr lang="de-DE" sz="1800" spc="-36">
                <a:solidFill>
                  <a:srgbClr val="272525"/>
                </a:solidFill>
                <a:ea typeface="Inter"/>
                <a:cs typeface="Arial"/>
              </a:rPr>
              <a:t>Aufgaben zu lösen durch Berechnung von Wahrscheinlichkeiten.</a:t>
            </a:r>
            <a:endParaRPr/>
          </a:p>
          <a:p>
            <a:pPr>
              <a:defRPr/>
            </a:pPr>
            <a:r>
              <a:rPr lang="de-DE" sz="1800"/>
              <a:t>Mehr Daten, gezieltes Training  genauer,  leistungsfähiger</a:t>
            </a:r>
            <a:endParaRPr sz="1800"/>
          </a:p>
          <a:p>
            <a:pPr marL="0" indent="0">
              <a:lnSpc>
                <a:spcPct val="110000"/>
              </a:lnSpc>
              <a:spcBef>
                <a:spcPts val="1000"/>
              </a:spcBef>
              <a:buNone/>
              <a:defRPr/>
            </a:pPr>
            <a:endParaRPr lang="de-DE" sz="2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4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grayscl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>
            <p:ph type="body" sz="quarter" idx="18"/>
          </p:nvPr>
        </p:nvSpPr>
        <p:spPr bwMode="auto">
          <a:xfrm>
            <a:off x="1424449" y="1768063"/>
            <a:ext cx="6423603" cy="1015663"/>
          </a:xfrm>
        </p:spPr>
        <p:txBody>
          <a:bodyPr/>
          <a:lstStyle/>
          <a:p>
            <a:pPr>
              <a:defRPr/>
            </a:pPr>
            <a:r>
              <a:rPr lang="de-DE" b="1"/>
              <a:t>1950er Jahre – Ideen und Anfänge</a:t>
            </a:r>
            <a:endParaRPr lang="de-DE"/>
          </a:p>
          <a:p>
            <a:pPr>
              <a:defRPr/>
            </a:pPr>
            <a:r>
              <a:rPr lang="de-DE" sz="1600"/>
              <a:t>Alan Turing entwickelt den „Turing-Test“. </a:t>
            </a:r>
            <a:endParaRPr/>
          </a:p>
          <a:p>
            <a:pPr>
              <a:defRPr/>
            </a:pPr>
            <a:r>
              <a:rPr lang="de-DE" sz="1600"/>
              <a:t>Erste Computerprogramme lösen einfache Aufgaben automatisiert.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Entwicklung</a:t>
            </a:r>
            <a:endParaRPr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9"/>
          </p:nvPr>
        </p:nvSpPr>
        <p:spPr bwMode="auto">
          <a:xfrm>
            <a:off x="1424450" y="3042909"/>
            <a:ext cx="6048632" cy="769441"/>
          </a:xfrm>
        </p:spPr>
        <p:txBody>
          <a:bodyPr/>
          <a:lstStyle/>
          <a:p>
            <a:pPr>
              <a:defRPr/>
            </a:pPr>
            <a:r>
              <a:rPr lang="de-DE" b="1"/>
              <a:t>1960er Jahre – Geburt der KI</a:t>
            </a:r>
            <a:endParaRPr/>
          </a:p>
          <a:p>
            <a:pPr>
              <a:defRPr/>
            </a:pPr>
            <a:r>
              <a:rPr lang="de-DE" sz="1600"/>
              <a:t>Erste Programme lösen komplexe Aufgaben (z. B. Schach, Logikbeweise). </a:t>
            </a:r>
            <a:endParaRPr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5</a:t>
            </a:fld>
            <a:endParaRPr lang="de-DE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20"/>
          </p:nvPr>
        </p:nvSpPr>
        <p:spPr bwMode="auto">
          <a:xfrm>
            <a:off x="1424450" y="4242046"/>
            <a:ext cx="6595514" cy="769441"/>
          </a:xfrm>
        </p:spPr>
        <p:txBody>
          <a:bodyPr/>
          <a:lstStyle/>
          <a:p>
            <a:pPr>
              <a:defRPr/>
            </a:pPr>
            <a:r>
              <a:rPr lang="de-DE" b="1"/>
              <a:t>2000er Jahre – Big Data</a:t>
            </a:r>
            <a:endParaRPr/>
          </a:p>
          <a:p>
            <a:pPr>
              <a:defRPr/>
            </a:pPr>
            <a:r>
              <a:rPr lang="de-DE" sz="1600"/>
              <a:t>Wachsende Rechenleistung und große Datenmengen machen Algorithmen leistungsfähiger. Maschinelles Lernen entsteht.</a:t>
            </a:r>
            <a:endParaRPr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8163965" y="6475333"/>
            <a:ext cx="3473708" cy="200685"/>
            <a:chOff x="8163965" y="6475333"/>
            <a:chExt cx="3473708" cy="200685"/>
          </a:xfrm>
        </p:grpSpPr>
        <p:sp>
          <p:nvSpPr>
            <p:cNvPr id="4" name="Foliennummernplatzhalter 5"/>
            <p:cNvSpPr txBox="1"/>
            <p:nvPr/>
          </p:nvSpPr>
          <p:spPr bwMode="auto">
            <a:xfrm>
              <a:off x="8163965" y="6552907"/>
              <a:ext cx="3473708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Die Entschlüsselungsmaschine „Bletchley Park - Bombe“ 1945 – public domai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platzhalter 8"/>
          <p:cNvSpPr>
            <a:spLocks noGrp="1"/>
          </p:cNvSpPr>
          <p:nvPr>
            <p:ph type="body" sz="quarter" idx="21"/>
          </p:nvPr>
        </p:nvSpPr>
        <p:spPr bwMode="auto">
          <a:xfrm>
            <a:off x="1424449" y="5443625"/>
            <a:ext cx="7476149" cy="1015663"/>
          </a:xfrm>
        </p:spPr>
        <p:txBody>
          <a:bodyPr/>
          <a:lstStyle/>
          <a:p>
            <a:pPr>
              <a:defRPr/>
            </a:pPr>
            <a:r>
              <a:rPr lang="de-DE" b="1"/>
              <a:t>2010 bis heute – Deep Learning und generative KI</a:t>
            </a:r>
            <a:endParaRPr/>
          </a:p>
          <a:p>
            <a:pPr>
              <a:defRPr/>
            </a:pPr>
            <a:r>
              <a:rPr lang="de-DE" sz="1600"/>
              <a:t>Neuronale Netze verändern Bild-, Sprach- und Textverarbeitung. GPT-Modelle zeigen die Fähigkeit, riesige Datenmengen zu verarbeiten und daraus neue Daten zu generieren.</a:t>
            </a:r>
            <a:endParaRPr lang="de-DE"/>
          </a:p>
        </p:txBody>
      </p:sp>
      <p:sp>
        <p:nvSpPr>
          <p:cNvPr id="10" name="Shape 2"/>
          <p:cNvSpPr/>
          <p:nvPr/>
        </p:nvSpPr>
        <p:spPr bwMode="auto">
          <a:xfrm flipH="1">
            <a:off x="767284" y="2138198"/>
            <a:ext cx="36000" cy="3600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1" name="Shape 3"/>
          <p:cNvSpPr/>
          <p:nvPr/>
        </p:nvSpPr>
        <p:spPr bwMode="auto">
          <a:xfrm>
            <a:off x="875522" y="1887338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pic>
        <p:nvPicPr>
          <p:cNvPr id="13" name="Image 1" descr="preencoded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66221" y="1828536"/>
            <a:ext cx="238125" cy="297656"/>
          </a:xfrm>
          <a:prstGeom prst="rect">
            <a:avLst/>
          </a:prstGeom>
        </p:spPr>
      </p:pic>
      <p:pic>
        <p:nvPicPr>
          <p:cNvPr id="27" name="Image 2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66220" y="3124478"/>
            <a:ext cx="238125" cy="297656"/>
          </a:xfrm>
          <a:prstGeom prst="rect">
            <a:avLst/>
          </a:prstGeom>
        </p:spPr>
      </p:pic>
      <p:pic>
        <p:nvPicPr>
          <p:cNvPr id="30" name="Image 3" descr="preencoded.png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69171" y="4322544"/>
            <a:ext cx="238125" cy="297656"/>
          </a:xfrm>
          <a:prstGeom prst="rect">
            <a:avLst/>
          </a:prstGeom>
        </p:spPr>
      </p:pic>
      <p:pic>
        <p:nvPicPr>
          <p:cNvPr id="33" name="Image 4" descr="preencoded.png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669717" y="5534904"/>
            <a:ext cx="238125" cy="297656"/>
          </a:xfrm>
          <a:prstGeom prst="rect">
            <a:avLst/>
          </a:prstGeom>
        </p:spPr>
      </p:pic>
      <p:sp>
        <p:nvSpPr>
          <p:cNvPr id="34" name="Shape 3"/>
          <p:cNvSpPr/>
          <p:nvPr/>
        </p:nvSpPr>
        <p:spPr bwMode="auto">
          <a:xfrm>
            <a:off x="875522" y="3166120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35" name="Shape 3"/>
          <p:cNvSpPr/>
          <p:nvPr/>
        </p:nvSpPr>
        <p:spPr bwMode="auto">
          <a:xfrm>
            <a:off x="875522" y="4372414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36" name="Shape 3"/>
          <p:cNvSpPr/>
          <p:nvPr/>
        </p:nvSpPr>
        <p:spPr bwMode="auto">
          <a:xfrm>
            <a:off x="875522" y="5566627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7"/>
          <a:srcRect b="34995"/>
          <a:stretch/>
        </p:blipFill>
        <p:spPr bwMode="auto">
          <a:xfrm>
            <a:off x="7751662" y="1253556"/>
            <a:ext cx="1735606" cy="16923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8"/>
          <a:srcRect b="21710"/>
          <a:stretch/>
        </p:blipFill>
        <p:spPr bwMode="auto">
          <a:xfrm>
            <a:off x="9765848" y="2232865"/>
            <a:ext cx="1341057" cy="157487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9"/>
          <a:srcRect b="22161"/>
          <a:stretch/>
        </p:blipFill>
        <p:spPr bwMode="auto">
          <a:xfrm>
            <a:off x="9711653" y="4165316"/>
            <a:ext cx="1449445" cy="16923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-Begriffe einfach erklärt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6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grayscl/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  <p:sp>
        <p:nvSpPr>
          <p:cNvPr id="20" name="Textplatzhalter 19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de-DE" sz="2800" b="1">
                <a:solidFill>
                  <a:schemeClr val="tx1"/>
                </a:solidFill>
              </a:rPr>
              <a:t>LLM</a:t>
            </a:r>
            <a:endParaRPr lang="de-DE" sz="2800">
              <a:solidFill>
                <a:schemeClr val="tx1"/>
              </a:solidFill>
            </a:endParaRPr>
          </a:p>
          <a:p>
            <a:pPr marL="0" indent="0">
              <a:lnSpc>
                <a:spcPct val="113999"/>
              </a:lnSpc>
              <a:buNone/>
              <a:defRPr/>
            </a:pPr>
            <a:r>
              <a:rPr lang="de-DE" sz="1800">
                <a:solidFill>
                  <a:schemeClr val="tx1"/>
                </a:solidFill>
              </a:rPr>
              <a:t>Large Language Models sind universell einsetzbare Modelle, die mit riesigen Textmengen trainiert wurden und in der Lage sind, menschliche Sprache im großen Maßstab zu erzeugen und scheinbar zu verstehen.</a:t>
            </a:r>
            <a:endParaRPr lang="de-DE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de-DE" sz="2800" b="1">
                <a:solidFill>
                  <a:schemeClr val="tx1"/>
                </a:solidFill>
              </a:rPr>
              <a:t>Generative KI</a:t>
            </a:r>
            <a:endParaRPr lang="de-DE" sz="2800">
              <a:solidFill>
                <a:schemeClr val="tx1"/>
              </a:solidFill>
            </a:endParaRPr>
          </a:p>
          <a:p>
            <a:pPr marL="0" indent="0">
              <a:lnSpc>
                <a:spcPct val="113999"/>
              </a:lnSpc>
              <a:buNone/>
              <a:defRPr/>
            </a:pPr>
            <a:r>
              <a:rPr lang="de-DE" sz="1800" spc="-36">
                <a:solidFill>
                  <a:schemeClr val="tx1"/>
                </a:solidFill>
                <a:ea typeface="Inter"/>
                <a:cs typeface="Arial"/>
              </a:rPr>
              <a:t>KI-Systeme, mit denen auf scheinbar kreative Weise neue Ergebnisse produziert werden können, etwa Bilder, Video, Audio oder Texte.</a:t>
            </a:r>
            <a:endParaRPr lang="de-DE"/>
          </a:p>
        </p:txBody>
      </p:sp>
      <p:pic>
        <p:nvPicPr>
          <p:cNvPr id="23" name="Image 0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707857" y="1606811"/>
            <a:ext cx="1030129" cy="1030129"/>
          </a:xfrm>
          <a:prstGeom prst="rect">
            <a:avLst/>
          </a:prstGeom>
        </p:spPr>
      </p:pic>
      <p:pic>
        <p:nvPicPr>
          <p:cNvPr id="24" name="Image 1" descr="preencoded.png"/>
          <p:cNvPicPr>
            <a:picLocks noChangeAspect="1"/>
          </p:cNvPicPr>
          <p:nvPr/>
        </p:nvPicPr>
        <p:blipFill>
          <a:blip r:embed="rId5"/>
          <a:srcRect t="5143"/>
          <a:stretch/>
        </p:blipFill>
        <p:spPr bwMode="auto">
          <a:xfrm>
            <a:off x="5503003" y="1606811"/>
            <a:ext cx="1030129" cy="977151"/>
          </a:xfrm>
          <a:prstGeom prst="rect">
            <a:avLst/>
          </a:prstGeom>
        </p:spPr>
      </p:pic>
      <p:sp>
        <p:nvSpPr>
          <p:cNvPr id="25" name="Textplatzhalter 21"/>
          <p:cNvSpPr>
            <a:spLocks noGrp="1"/>
          </p:cNvSpPr>
          <p:nvPr>
            <p:ph type="body" sz="quarter" idx="15"/>
          </p:nvPr>
        </p:nvSpPr>
        <p:spPr bwMode="auto"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de-DE" sz="2800" b="1">
                <a:solidFill>
                  <a:schemeClr val="tx1"/>
                </a:solidFill>
              </a:rPr>
              <a:t>Maschinelles Lernen</a:t>
            </a:r>
            <a:endParaRPr lang="de-DE" sz="2800">
              <a:solidFill>
                <a:schemeClr val="tx1"/>
              </a:solidFill>
            </a:endParaRPr>
          </a:p>
          <a:p>
            <a:pPr marL="0" indent="0">
              <a:lnSpc>
                <a:spcPct val="113999"/>
              </a:lnSpc>
              <a:buNone/>
              <a:defRPr/>
            </a:pPr>
            <a:r>
              <a:rPr lang="de-DE" sz="1800" spc="-36">
                <a:solidFill>
                  <a:schemeClr val="tx1"/>
                </a:solidFill>
                <a:ea typeface="Inter"/>
                <a:cs typeface="Arial"/>
              </a:rPr>
              <a:t>Der Begriff beschreibt, wie Algorithmen Muster in den Daten erkennen. Diese Verfahren beinhalten  eine Trainingsphase, in der das Modell angelernt wird.</a:t>
            </a:r>
            <a:endParaRPr/>
          </a:p>
        </p:txBody>
      </p:sp>
      <p:pic>
        <p:nvPicPr>
          <p:cNvPr id="26" name="Image 2" descr="preencoded.png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9376081" y="1580321"/>
            <a:ext cx="1030129" cy="1030129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 bwMode="auto">
          <a:xfrm>
            <a:off x="1424449" y="1768062"/>
            <a:ext cx="5421296" cy="1128119"/>
          </a:xfrm>
        </p:spPr>
        <p:txBody>
          <a:bodyPr/>
          <a:lstStyle/>
          <a:p>
            <a:pPr>
              <a:defRPr/>
            </a:pPr>
            <a:r>
              <a:rPr lang="de-DE" sz="2000" b="1"/>
              <a:t>Soziale Medien</a:t>
            </a:r>
            <a:endParaRPr/>
          </a:p>
          <a:p>
            <a:pPr>
              <a:defRPr/>
            </a:pPr>
            <a:r>
              <a:rPr lang="de-DE"/>
              <a:t>z. B. bei Chatbots und personalisierter Werbung (Tiktok, Snapchat, Instagram) oder bei Streaming-Diensten wie Youtube oder Netflix (Empfehlungen)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861774"/>
          </a:xfrm>
        </p:spPr>
        <p:txBody>
          <a:bodyPr/>
          <a:lstStyle/>
          <a:p>
            <a:pPr>
              <a:defRPr/>
            </a:pPr>
            <a:r>
              <a:rPr lang="de-DE"/>
              <a:t>KI in der Lebenswelt unserer </a:t>
            </a:r>
            <a:br>
              <a:rPr lang="de-DE"/>
            </a:br>
            <a:r>
              <a:rPr lang="de-DE"/>
              <a:t>Schülerinnen und Schüler </a:t>
            </a:r>
            <a:endParaRPr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 bwMode="auto">
          <a:xfrm>
            <a:off x="1424450" y="3042909"/>
            <a:ext cx="5418057" cy="584775"/>
          </a:xfrm>
        </p:spPr>
        <p:txBody>
          <a:bodyPr/>
          <a:lstStyle/>
          <a:p>
            <a:pPr>
              <a:defRPr/>
            </a:pPr>
            <a:r>
              <a:rPr lang="de-DE" sz="2000" b="1"/>
              <a:t>Spiele</a:t>
            </a:r>
            <a:endParaRPr/>
          </a:p>
          <a:p>
            <a:pPr>
              <a:defRPr/>
            </a:pPr>
            <a:r>
              <a:rPr lang="de-DE"/>
              <a:t>z. B. Spielgegner und personalisierte Erlebniss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7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 bwMode="auto">
          <a:xfrm>
            <a:off x="1424450" y="4242046"/>
            <a:ext cx="5418058" cy="861774"/>
          </a:xfrm>
        </p:spPr>
        <p:txBody>
          <a:bodyPr/>
          <a:lstStyle/>
          <a:p>
            <a:pPr>
              <a:defRPr/>
            </a:pPr>
            <a:r>
              <a:rPr lang="de-DE" sz="2000" b="1"/>
              <a:t>Sprachassistenten</a:t>
            </a:r>
            <a:endParaRPr/>
          </a:p>
          <a:p>
            <a:pPr>
              <a:defRPr/>
            </a:pPr>
            <a:r>
              <a:rPr lang="de-DE"/>
              <a:t>Nutzung von Siri, Alexa, Gemini usw. im Alltag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1"/>
          </p:nvPr>
        </p:nvSpPr>
        <p:spPr bwMode="auto">
          <a:xfrm>
            <a:off x="1424449" y="5443624"/>
            <a:ext cx="5418777" cy="1128119"/>
          </a:xfrm>
        </p:spPr>
        <p:txBody>
          <a:bodyPr/>
          <a:lstStyle/>
          <a:p>
            <a:pPr>
              <a:defRPr/>
            </a:pPr>
            <a:r>
              <a:rPr lang="de-DE" sz="2000" b="1"/>
              <a:t>Lern-Apps</a:t>
            </a:r>
            <a:endParaRPr/>
          </a:p>
          <a:p>
            <a:pPr>
              <a:defRPr/>
            </a:pPr>
            <a:r>
              <a:rPr lang="de-DE"/>
              <a:t>z. B. Anton, Duolingo oder Scoyo nutzen KI, um das Lernniveau anzupassen</a:t>
            </a:r>
            <a:endParaRPr/>
          </a:p>
          <a:p>
            <a:pPr>
              <a:defRPr/>
            </a:pPr>
            <a:endParaRPr lang="de-DE"/>
          </a:p>
        </p:txBody>
      </p:sp>
      <p:pic>
        <p:nvPicPr>
          <p:cNvPr id="11" name="Image 3" descr="preencoded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3290" y="3075740"/>
            <a:ext cx="306110" cy="382667"/>
          </a:xfrm>
          <a:prstGeom prst="rect">
            <a:avLst/>
          </a:prstGeom>
        </p:spPr>
      </p:pic>
      <p:pic>
        <p:nvPicPr>
          <p:cNvPr id="12" name="Image 4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33290" y="4280228"/>
            <a:ext cx="306110" cy="382667"/>
          </a:xfrm>
          <a:prstGeom prst="rect">
            <a:avLst/>
          </a:prstGeom>
        </p:spPr>
      </p:pic>
      <p:pic>
        <p:nvPicPr>
          <p:cNvPr id="13" name="Image 5" descr="preencoded.png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33290" y="5484716"/>
            <a:ext cx="306110" cy="382667"/>
          </a:xfrm>
          <a:prstGeom prst="rect">
            <a:avLst/>
          </a:prstGeom>
        </p:spPr>
      </p:pic>
      <p:grpSp>
        <p:nvGrpSpPr>
          <p:cNvPr id="14" name="Gruppieren 13"/>
          <p:cNvGrpSpPr/>
          <p:nvPr/>
        </p:nvGrpSpPr>
        <p:grpSpPr bwMode="auto">
          <a:xfrm>
            <a:off x="7998855" y="6475333"/>
            <a:ext cx="3638817" cy="200685"/>
            <a:chOff x="7998855" y="6475333"/>
            <a:chExt cx="3638817" cy="200685"/>
          </a:xfrm>
        </p:grpSpPr>
        <p:sp>
          <p:nvSpPr>
            <p:cNvPr id="15" name="Foliennummernplatzhalter 5"/>
            <p:cNvSpPr txBox="1"/>
            <p:nvPr/>
          </p:nvSpPr>
          <p:spPr bwMode="auto">
            <a:xfrm>
              <a:off x="7998855" y="6552907"/>
              <a:ext cx="3638817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Kinder beim Lernen zu Hause mit KI-Tools – erstellt mit ChatGPT 4.o am 22.05.2025</a:t>
              </a:r>
              <a:endParaRPr/>
            </a:p>
          </p:txBody>
        </p:sp>
        <p:cxnSp>
          <p:nvCxnSpPr>
            <p:cNvPr id="16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Grafik 23" descr="Smartphone mit einfarbiger Füllung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/>
        </p:blipFill>
        <p:spPr bwMode="auto">
          <a:xfrm>
            <a:off x="605921" y="1797597"/>
            <a:ext cx="360847" cy="360847"/>
          </a:xfrm>
          <a:prstGeom prst="rect">
            <a:avLst/>
          </a:prstGeom>
        </p:spPr>
      </p:pic>
      <p:pic>
        <p:nvPicPr>
          <p:cNvPr id="23" name="Bildplatzhalter 22"/>
          <p:cNvPicPr>
            <a:picLocks noGrp="1" noChangeAspect="1"/>
          </p:cNvPicPr>
          <p:nvPr>
            <p:ph type="pic" sz="quarter" idx="22"/>
          </p:nvPr>
        </p:nvPicPr>
        <p:blipFill>
          <a:blip r:embed="rId8"/>
          <a:srcRect t="6995" b="6995"/>
          <a:stretch/>
        </p:blipFill>
        <p:spPr bwMode="auto"/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-anwendungen als verstärker guten unterrichts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8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grayscl/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  <p:graphicFrame>
        <p:nvGraphicFramePr>
          <p:cNvPr id="13" name="Diagramm 12"/>
          <p:cNvGraphicFramePr>
            <a:graphicFrameLocks/>
          </p:cNvGraphicFramePr>
          <p:nvPr/>
        </p:nvGraphicFramePr>
        <p:xfrm>
          <a:off x="2032000" y="1407781"/>
          <a:ext cx="7171206" cy="4730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>
                <a:solidFill>
                  <a:schemeClr val="accent6"/>
                </a:solidFill>
              </a:rPr>
              <a:t>Herausforderungen</a:t>
            </a:r>
            <a:r>
              <a:rPr lang="de-DE"/>
              <a:t> von KI in der Schule</a:t>
            </a:r>
            <a:endParaRPr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9"/>
          </p:nvPr>
        </p:nvSpPr>
        <p:spPr bwMode="auto">
          <a:xfrm>
            <a:off x="584682" y="2689523"/>
            <a:ext cx="3630625" cy="3231654"/>
          </a:xfrm>
          <a:prstGeom prst="rect">
            <a:avLst/>
          </a:prstGeom>
          <a:ln>
            <a:solidFill>
              <a:srgbClr val="DEC628"/>
            </a:solidFill>
          </a:ln>
        </p:spPr>
        <p:txBody>
          <a:bodyPr/>
          <a:lstStyle/>
          <a:p>
            <a:pPr algn="ctr">
              <a:defRPr/>
            </a:pPr>
            <a:r>
              <a:rPr lang="de-DE" sz="2400" b="1"/>
              <a:t>Datenschutz &amp; </a:t>
            </a:r>
            <a:endParaRPr/>
          </a:p>
          <a:p>
            <a:pPr algn="ctr">
              <a:defRPr/>
            </a:pPr>
            <a:r>
              <a:rPr lang="de-DE" sz="2400" b="1"/>
              <a:t>Sicherheit</a:t>
            </a:r>
            <a:endParaRPr/>
          </a:p>
          <a:p>
            <a:pPr algn="ctr">
              <a:defRPr/>
            </a:pPr>
            <a:endParaRPr lang="de-DE"/>
          </a:p>
          <a:p>
            <a:pPr marL="285750" indent="-285750">
              <a:buFont typeface="Arial"/>
              <a:buChar char="•"/>
              <a:defRPr/>
            </a:pPr>
            <a:r>
              <a:rPr lang="de-DE"/>
              <a:t>Oft Verarbeitung personenbezogener Daten  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/>
              <a:t>nicht immer konform mit der DSGVO, mit der KI-Verordnung der Europäischen Union oder dem allgemeinen Schulrecht</a:t>
            </a:r>
            <a:endParaRPr/>
          </a:p>
          <a:p>
            <a:pPr marL="285750" indent="-285750">
              <a:buFont typeface="Wingdings"/>
              <a:buChar char="Ø"/>
              <a:defRPr/>
            </a:pPr>
            <a:r>
              <a:rPr lang="de-DE"/>
              <a:t>Genaue Prüfung</a:t>
            </a:r>
            <a:endParaRPr/>
          </a:p>
          <a:p>
            <a:pPr algn="ctr"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9</a:t>
            </a:fld>
            <a:endParaRPr lang="de-DE"/>
          </a:p>
        </p:txBody>
      </p:sp>
      <p:pic>
        <p:nvPicPr>
          <p:cNvPr id="8" name="Image 1" descr="preencoded.png"/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EDE31D">
                <a:tint val="45000"/>
                <a:satMod val="400000"/>
              </a:srgbClr>
            </a:duotone>
          </a:blip>
          <a:stretch/>
        </p:blipFill>
        <p:spPr bwMode="auto">
          <a:xfrm>
            <a:off x="2230695" y="2229413"/>
            <a:ext cx="230785" cy="274652"/>
          </a:xfrm>
          <a:prstGeom prst="rect">
            <a:avLst/>
          </a:prstGeom>
          <a:solidFill>
            <a:srgbClr val="E8DC7B"/>
          </a:solidFill>
        </p:spPr>
      </p:pic>
      <p:pic>
        <p:nvPicPr>
          <p:cNvPr id="9" name="Image 2" descr="preencoded.png"/>
          <p:cNvPicPr>
            <a:picLocks noChangeAspect="1"/>
          </p:cNvPicPr>
          <p:nvPr/>
        </p:nvPicPr>
        <p:blipFill>
          <a:blip r:embed="rId4">
            <a:duotone>
              <a:prstClr val="black"/>
              <a:srgbClr val="EDE31D">
                <a:tint val="45000"/>
                <a:satMod val="400000"/>
              </a:srgbClr>
            </a:duotone>
          </a:blip>
          <a:stretch/>
        </p:blipFill>
        <p:spPr bwMode="auto">
          <a:xfrm>
            <a:off x="5968377" y="2229413"/>
            <a:ext cx="230785" cy="274652"/>
          </a:xfrm>
          <a:prstGeom prst="rect">
            <a:avLst/>
          </a:prstGeom>
        </p:spPr>
      </p:pic>
      <p:pic>
        <p:nvPicPr>
          <p:cNvPr id="10" name="Image 3" descr="preencoded.png"/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EDE31D">
                <a:tint val="45000"/>
                <a:satMod val="400000"/>
              </a:srgbClr>
            </a:duotone>
          </a:blip>
          <a:stretch/>
        </p:blipFill>
        <p:spPr bwMode="auto">
          <a:xfrm>
            <a:off x="9706059" y="2229413"/>
            <a:ext cx="230785" cy="274652"/>
          </a:xfrm>
          <a:prstGeom prst="rect">
            <a:avLst/>
          </a:prstGeom>
        </p:spPr>
      </p:pic>
      <p:sp>
        <p:nvSpPr>
          <p:cNvPr id="11" name="Textplatzhalter 5"/>
          <p:cNvSpPr txBox="1"/>
          <p:nvPr/>
        </p:nvSpPr>
        <p:spPr bwMode="auto">
          <a:xfrm>
            <a:off x="4403558" y="2726842"/>
            <a:ext cx="3478307" cy="2182649"/>
          </a:xfrm>
          <a:prstGeom prst="rect">
            <a:avLst/>
          </a:prstGeom>
          <a:ln>
            <a:solidFill>
              <a:srgbClr val="DEC628"/>
            </a:solidFill>
          </a:ln>
        </p:spPr>
        <p:txBody>
          <a:bodyPr wrap="square" lIns="0" tIns="0" rIns="0" bIns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2400" b="1"/>
              <a:t>Verlässlichkeit</a:t>
            </a:r>
            <a:endParaRPr/>
          </a:p>
          <a:p>
            <a:pPr algn="ctr">
              <a:defRPr/>
            </a:pPr>
            <a:r>
              <a:rPr lang="de-DE" sz="2400" b="1"/>
              <a:t>von Inhalten</a:t>
            </a:r>
            <a:endParaRPr lang="de-DE"/>
          </a:p>
          <a:p>
            <a:pPr algn="ctr">
              <a:defRPr/>
            </a:pPr>
            <a:endParaRPr lang="de-DE"/>
          </a:p>
          <a:p>
            <a:pPr marL="285750" indent="-285750">
              <a:lnSpc>
                <a:spcPts val="2250"/>
              </a:lnSpc>
              <a:buFont typeface="Arial"/>
              <a:buChar char="•"/>
              <a:defRPr/>
            </a:pPr>
            <a:r>
              <a:rPr lang="de-DE"/>
              <a:t>Inhalte zum Teil fehlerhaft oder verzerrt (Vorurteile, Bias)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z="1800"/>
              <a:t>Prüfung von Inhalten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z="1800"/>
              <a:t>Quellen-Check</a:t>
            </a:r>
            <a:endParaRPr/>
          </a:p>
        </p:txBody>
      </p:sp>
      <p:sp>
        <p:nvSpPr>
          <p:cNvPr id="12" name="Textplatzhalter 5"/>
          <p:cNvSpPr txBox="1"/>
          <p:nvPr/>
        </p:nvSpPr>
        <p:spPr bwMode="auto">
          <a:xfrm>
            <a:off x="8070117" y="2726842"/>
            <a:ext cx="3596092" cy="2767424"/>
          </a:xfrm>
          <a:prstGeom prst="rect">
            <a:avLst/>
          </a:prstGeom>
          <a:ln>
            <a:solidFill>
              <a:srgbClr val="DEC628"/>
            </a:solidFill>
          </a:ln>
        </p:spPr>
        <p:txBody>
          <a:bodyPr wrap="square" lIns="0" tIns="0" rIns="0" bIns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2400" b="1"/>
              <a:t>Gefahr der Übernutzung</a:t>
            </a:r>
            <a:endParaRPr/>
          </a:p>
          <a:p>
            <a:pPr algn="ctr">
              <a:defRPr/>
            </a:pPr>
            <a:r>
              <a:rPr lang="de-DE" sz="2400" b="1"/>
              <a:t>oder Täuschung</a:t>
            </a:r>
            <a:endParaRPr/>
          </a:p>
          <a:p>
            <a:pPr algn="ctr">
              <a:defRPr/>
            </a:pPr>
            <a:endParaRPr lang="de-DE"/>
          </a:p>
          <a:p>
            <a:pPr marL="285750" indent="-285750">
              <a:lnSpc>
                <a:spcPts val="2250"/>
              </a:lnSpc>
              <a:buFont typeface="Arial"/>
              <a:buChar char="•"/>
              <a:defRPr/>
            </a:pPr>
            <a:r>
              <a:rPr lang="de-DE" sz="1800" spc="-28">
                <a:solidFill>
                  <a:srgbClr val="272525"/>
                </a:solidFill>
                <a:ea typeface="Inter"/>
                <a:cs typeface="Arial"/>
              </a:rPr>
              <a:t>KI-Anwendungen sind Hilfe, keine Abkürzung</a:t>
            </a:r>
            <a:endParaRPr/>
          </a:p>
          <a:p>
            <a:pPr marL="285750" indent="-285750">
              <a:lnSpc>
                <a:spcPts val="2250"/>
              </a:lnSpc>
              <a:buFont typeface="Arial"/>
              <a:buChar char="•"/>
              <a:defRPr/>
            </a:pPr>
            <a:r>
              <a:rPr lang="de-DE" spc="-28">
                <a:solidFill>
                  <a:srgbClr val="272525"/>
                </a:solidFill>
                <a:cs typeface="Arial"/>
              </a:rPr>
              <a:t>Eigenleistung immer noch wichtig: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z="1800" spc="-28">
                <a:solidFill>
                  <a:srgbClr val="272525"/>
                </a:solidFill>
                <a:cs typeface="Arial"/>
              </a:rPr>
              <a:t>KI-Nutzung kennzeichnen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pc="-28">
                <a:solidFill>
                  <a:srgbClr val="272525"/>
                </a:solidFill>
                <a:cs typeface="Arial"/>
              </a:rPr>
              <a:t>Praxisorientierte Aufgaben</a:t>
            </a:r>
            <a:endParaRPr lang="de-DE" sz="1800">
              <a:cs typeface="Arial"/>
            </a:endParaRPr>
          </a:p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Cover 01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Arial"/>
        <a:cs typeface="Arial"/>
      </a:majorFont>
      <a:minorFont>
        <a:latin typeface="Apto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79</Words>
  <Application>Microsoft Office PowerPoint</Application>
  <DocSecurity>0</DocSecurity>
  <PresentationFormat>Breitbild</PresentationFormat>
  <Paragraphs>275</Paragraphs>
  <Slides>13</Slides>
  <Notes>13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4" baseType="lpstr">
      <vt:lpstr>Aptos</vt:lpstr>
      <vt:lpstr>Arial</vt:lpstr>
      <vt:lpstr>Calibri</vt:lpstr>
      <vt:lpstr>Helvetica</vt:lpstr>
      <vt:lpstr>Inter</vt:lpstr>
      <vt:lpstr>Segoe UI</vt:lpstr>
      <vt:lpstr>Wingdings</vt:lpstr>
      <vt:lpstr>Cover 01</vt:lpstr>
      <vt:lpstr>Inhalt </vt:lpstr>
      <vt:lpstr>1_Inhalt </vt:lpstr>
      <vt:lpstr>oleObj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AK Medienerziehung, ISB</dc:creator>
  <cp:keywords/>
  <dc:description/>
  <cp:lastModifiedBy>Teubner, Markus</cp:lastModifiedBy>
  <cp:revision>188</cp:revision>
  <dcterms:created xsi:type="dcterms:W3CDTF">2024-05-08T06:34:22Z</dcterms:created>
  <dcterms:modified xsi:type="dcterms:W3CDTF">2026-01-16T10:57:11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9674CF57E09B4787B28BA164A64369</vt:lpwstr>
  </property>
</Properties>
</file>